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E544D_1C73D5C6.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55"/>
  </p:notesMasterIdLst>
  <p:sldIdLst>
    <p:sldId id="2145707097" r:id="rId5"/>
    <p:sldId id="2147474021" r:id="rId6"/>
    <p:sldId id="2147474022" r:id="rId7"/>
    <p:sldId id="2147474023" r:id="rId8"/>
    <p:sldId id="2147474026" r:id="rId9"/>
    <p:sldId id="2147474024" r:id="rId10"/>
    <p:sldId id="2147474028" r:id="rId11"/>
    <p:sldId id="2147474001" r:id="rId12"/>
    <p:sldId id="2147474030" r:id="rId13"/>
    <p:sldId id="2147474031" r:id="rId14"/>
    <p:sldId id="2147474032" r:id="rId15"/>
    <p:sldId id="2147474046" r:id="rId16"/>
    <p:sldId id="2147474047" r:id="rId17"/>
    <p:sldId id="2147474033" r:id="rId18"/>
    <p:sldId id="2147474034" r:id="rId19"/>
    <p:sldId id="2147474035" r:id="rId20"/>
    <p:sldId id="2147474051" r:id="rId21"/>
    <p:sldId id="2147474052" r:id="rId22"/>
    <p:sldId id="2147374157" r:id="rId23"/>
    <p:sldId id="2147474073" r:id="rId24"/>
    <p:sldId id="2147474053" r:id="rId25"/>
    <p:sldId id="2147474038" r:id="rId26"/>
    <p:sldId id="2147474056" r:id="rId27"/>
    <p:sldId id="2147474058" r:id="rId28"/>
    <p:sldId id="2147474059" r:id="rId29"/>
    <p:sldId id="2147474060" r:id="rId30"/>
    <p:sldId id="2147474054" r:id="rId31"/>
    <p:sldId id="2147474063" r:id="rId32"/>
    <p:sldId id="2147474062" r:id="rId33"/>
    <p:sldId id="2147474061" r:id="rId34"/>
    <p:sldId id="2147474064" r:id="rId35"/>
    <p:sldId id="2147474066" r:id="rId36"/>
    <p:sldId id="2147474067" r:id="rId37"/>
    <p:sldId id="2147474070" r:id="rId38"/>
    <p:sldId id="2147474068" r:id="rId39"/>
    <p:sldId id="2147474069" r:id="rId40"/>
    <p:sldId id="2147474071" r:id="rId41"/>
    <p:sldId id="2147474074" r:id="rId42"/>
    <p:sldId id="2147474075" r:id="rId43"/>
    <p:sldId id="2147474076" r:id="rId44"/>
    <p:sldId id="2147474077" r:id="rId45"/>
    <p:sldId id="2147474078" r:id="rId46"/>
    <p:sldId id="2147474093" r:id="rId47"/>
    <p:sldId id="2147474094" r:id="rId48"/>
    <p:sldId id="2147474082" r:id="rId49"/>
    <p:sldId id="2147474095" r:id="rId50"/>
    <p:sldId id="2147474087" r:id="rId51"/>
    <p:sldId id="2147474081" r:id="rId52"/>
    <p:sldId id="2147474084" r:id="rId53"/>
    <p:sldId id="2147374140" r:id="rId54"/>
  </p:sldIdLst>
  <p:sldSz cx="12192000" cy="6858000"/>
  <p:notesSz cx="6805613" cy="9939338"/>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2145707097"/>
            <p14:sldId id="2147474021"/>
            <p14:sldId id="2147474022"/>
            <p14:sldId id="2147474023"/>
            <p14:sldId id="2147474026"/>
            <p14:sldId id="2147474024"/>
            <p14:sldId id="2147474028"/>
            <p14:sldId id="2147474001"/>
            <p14:sldId id="2147474030"/>
            <p14:sldId id="2147474031"/>
            <p14:sldId id="2147474032"/>
            <p14:sldId id="2147474046"/>
            <p14:sldId id="2147474047"/>
            <p14:sldId id="2147474033"/>
            <p14:sldId id="2147474034"/>
            <p14:sldId id="2147474035"/>
            <p14:sldId id="2147474051"/>
            <p14:sldId id="2147474052"/>
            <p14:sldId id="2147374157"/>
            <p14:sldId id="2147474073"/>
            <p14:sldId id="2147474053"/>
            <p14:sldId id="2147474038"/>
            <p14:sldId id="2147474056"/>
            <p14:sldId id="2147474058"/>
            <p14:sldId id="2147474059"/>
            <p14:sldId id="2147474060"/>
            <p14:sldId id="2147474054"/>
            <p14:sldId id="2147474063"/>
            <p14:sldId id="2147474062"/>
            <p14:sldId id="2147474061"/>
            <p14:sldId id="2147474064"/>
            <p14:sldId id="2147474066"/>
            <p14:sldId id="2147474067"/>
            <p14:sldId id="2147474070"/>
            <p14:sldId id="2147474068"/>
            <p14:sldId id="2147474069"/>
            <p14:sldId id="2147474071"/>
            <p14:sldId id="2147474074"/>
            <p14:sldId id="2147474075"/>
            <p14:sldId id="2147474076"/>
            <p14:sldId id="2147474077"/>
            <p14:sldId id="2147474078"/>
            <p14:sldId id="2147474093"/>
            <p14:sldId id="2147474094"/>
            <p14:sldId id="2147474082"/>
            <p14:sldId id="2147474095"/>
            <p14:sldId id="2147474087"/>
            <p14:sldId id="2147474081"/>
            <p14:sldId id="2147474084"/>
            <p14:sldId id="2147374140"/>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852130-E830-BD80-7B6D-E40253BACC4F}" name="Zhan, Yao" initials="" userId="S::yao.zhan@takeda.com::37b612df-86ed-4d30-8716-76c92ac1c591" providerId="AD"/>
  <p188:author id="{6EF26633-DDB9-A441-B3A0-9E86DA30F178}" name="Shi, Xi" initials="SX" userId="S::xi.shi@takeda.com::b9632aef-56e3-4063-9a54-5a842d398b44" providerId="AD"/>
  <p188:author id="{B5BC41F5-903C-18F1-E3D8-FBE6529DCB8A}" name="Mondal, Anupom" initials="AM" userId="S::anupom.mondal@takeda.com::8ed708cc-fb3d-49a2-a765-f1af476d68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120A"/>
    <a:srgbClr val="1A1918"/>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84E826-ADB0-4DE0-BA99-F21E8FCE1044}" v="206" dt="2024-02-21T03:32:26.8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39" autoAdjust="0"/>
    <p:restoredTop sz="96327"/>
  </p:normalViewPr>
  <p:slideViewPr>
    <p:cSldViewPr snapToGrid="0">
      <p:cViewPr>
        <p:scale>
          <a:sx n="40" d="100"/>
          <a:sy n="40" d="100"/>
        </p:scale>
        <p:origin x="1164" y="48"/>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 Yao" userId="S::yao.zhan@takeda.com::37b612df-86ed-4d30-8716-76c92ac1c591" providerId="AD" clId="Web-{5F165BCA-926E-D709-35CD-4E2E9BB794B7}"/>
    <pc:docChg chg="addSld delSld modSld modSection">
      <pc:chgData name="Zhan, Yao" userId="S::yao.zhan@takeda.com::37b612df-86ed-4d30-8716-76c92ac1c591" providerId="AD" clId="Web-{5F165BCA-926E-D709-35CD-4E2E9BB794B7}" dt="2024-02-09T08:55:47.320" v="227" actId="1076"/>
      <pc:docMkLst>
        <pc:docMk/>
      </pc:docMkLst>
      <pc:sldChg chg="del">
        <pc:chgData name="Zhan, Yao" userId="S::yao.zhan@takeda.com::37b612df-86ed-4d30-8716-76c92ac1c591" providerId="AD" clId="Web-{5F165BCA-926E-D709-35CD-4E2E9BB794B7}" dt="2024-02-09T03:36:11.277" v="18"/>
        <pc:sldMkLst>
          <pc:docMk/>
          <pc:sldMk cId="3437454793" sldId="2147474041"/>
        </pc:sldMkLst>
      </pc:sldChg>
      <pc:sldChg chg="del">
        <pc:chgData name="Zhan, Yao" userId="S::yao.zhan@takeda.com::37b612df-86ed-4d30-8716-76c92ac1c591" providerId="AD" clId="Web-{5F165BCA-926E-D709-35CD-4E2E9BB794B7}" dt="2024-02-09T03:36:12.543" v="20"/>
        <pc:sldMkLst>
          <pc:docMk/>
          <pc:sldMk cId="1347849860" sldId="2147474048"/>
        </pc:sldMkLst>
      </pc:sldChg>
      <pc:sldChg chg="del">
        <pc:chgData name="Zhan, Yao" userId="S::yao.zhan@takeda.com::37b612df-86ed-4d30-8716-76c92ac1c591" providerId="AD" clId="Web-{5F165BCA-926E-D709-35CD-4E2E9BB794B7}" dt="2024-02-09T03:36:11.761" v="19"/>
        <pc:sldMkLst>
          <pc:docMk/>
          <pc:sldMk cId="3694429707" sldId="2147474049"/>
        </pc:sldMkLst>
      </pc:sldChg>
      <pc:sldChg chg="del">
        <pc:chgData name="Zhan, Yao" userId="S::yao.zhan@takeda.com::37b612df-86ed-4d30-8716-76c92ac1c591" providerId="AD" clId="Web-{5F165BCA-926E-D709-35CD-4E2E9BB794B7}" dt="2024-02-09T03:36:10.199" v="17"/>
        <pc:sldMkLst>
          <pc:docMk/>
          <pc:sldMk cId="3363254896" sldId="2147474050"/>
        </pc:sldMkLst>
      </pc:sldChg>
      <pc:sldChg chg="addSp delSp modSp delAnim">
        <pc:chgData name="Zhan, Yao" userId="S::yao.zhan@takeda.com::37b612df-86ed-4d30-8716-76c92ac1c591" providerId="AD" clId="Web-{5F165BCA-926E-D709-35CD-4E2E9BB794B7}" dt="2024-02-09T03:35:56.839" v="16" actId="1076"/>
        <pc:sldMkLst>
          <pc:docMk/>
          <pc:sldMk cId="2524161809" sldId="2147474054"/>
        </pc:sldMkLst>
        <pc:picChg chg="add mod ord">
          <ac:chgData name="Zhan, Yao" userId="S::yao.zhan@takeda.com::37b612df-86ed-4d30-8716-76c92ac1c591" providerId="AD" clId="Web-{5F165BCA-926E-D709-35CD-4E2E9BB794B7}" dt="2024-02-09T03:33:17.647" v="13" actId="14100"/>
          <ac:picMkLst>
            <pc:docMk/>
            <pc:sldMk cId="2524161809" sldId="2147474054"/>
            <ac:picMk id="2" creationId="{41322117-43C4-B07F-E57D-F7668BB8040B}"/>
          </ac:picMkLst>
        </pc:picChg>
        <pc:picChg chg="mod">
          <ac:chgData name="Zhan, Yao" userId="S::yao.zhan@takeda.com::37b612df-86ed-4d30-8716-76c92ac1c591" providerId="AD" clId="Web-{5F165BCA-926E-D709-35CD-4E2E9BB794B7}" dt="2024-02-09T03:35:56.839" v="16" actId="1076"/>
          <ac:picMkLst>
            <pc:docMk/>
            <pc:sldMk cId="2524161809" sldId="2147474054"/>
            <ac:picMk id="3" creationId="{435B3EF4-5D38-113F-E3A9-EDC59FFB8454}"/>
          </ac:picMkLst>
        </pc:picChg>
        <pc:picChg chg="del">
          <ac:chgData name="Zhan, Yao" userId="S::yao.zhan@takeda.com::37b612df-86ed-4d30-8716-76c92ac1c591" providerId="AD" clId="Web-{5F165BCA-926E-D709-35CD-4E2E9BB794B7}" dt="2024-02-09T03:31:48.567" v="2"/>
          <ac:picMkLst>
            <pc:docMk/>
            <pc:sldMk cId="2524161809" sldId="2147474054"/>
            <ac:picMk id="14" creationId="{E02EEC17-383B-BBB5-D127-382F3A57E96E}"/>
          </ac:picMkLst>
        </pc:picChg>
      </pc:sldChg>
      <pc:sldChg chg="addSp delSp modSp new">
        <pc:chgData name="Zhan, Yao" userId="S::yao.zhan@takeda.com::37b612df-86ed-4d30-8716-76c92ac1c591" providerId="AD" clId="Web-{5F165BCA-926E-D709-35CD-4E2E9BB794B7}" dt="2024-02-09T08:02:14.942" v="217" actId="1076"/>
        <pc:sldMkLst>
          <pc:docMk/>
          <pc:sldMk cId="115702695" sldId="2147474061"/>
        </pc:sldMkLst>
        <pc:spChg chg="del">
          <ac:chgData name="Zhan, Yao" userId="S::yao.zhan@takeda.com::37b612df-86ed-4d30-8716-76c92ac1c591" providerId="AD" clId="Web-{5F165BCA-926E-D709-35CD-4E2E9BB794B7}" dt="2024-02-09T07:47:14.367" v="210"/>
          <ac:spMkLst>
            <pc:docMk/>
            <pc:sldMk cId="115702695" sldId="2147474061"/>
            <ac:spMk id="2" creationId="{37E49D2B-91C6-AB6F-901B-E2659132678C}"/>
          </ac:spMkLst>
        </pc:spChg>
        <pc:spChg chg="mod">
          <ac:chgData name="Zhan, Yao" userId="S::yao.zhan@takeda.com::37b612df-86ed-4d30-8716-76c92ac1c591" providerId="AD" clId="Web-{5F165BCA-926E-D709-35CD-4E2E9BB794B7}" dt="2024-02-09T07:47:06.211" v="209" actId="20577"/>
          <ac:spMkLst>
            <pc:docMk/>
            <pc:sldMk cId="115702695" sldId="2147474061"/>
            <ac:spMk id="4" creationId="{AA7B0BB9-6F2F-2EC0-3D88-F5073A26C2CD}"/>
          </ac:spMkLst>
        </pc:spChg>
        <pc:spChg chg="add del">
          <ac:chgData name="Zhan, Yao" userId="S::yao.zhan@takeda.com::37b612df-86ed-4d30-8716-76c92ac1c591" providerId="AD" clId="Web-{5F165BCA-926E-D709-35CD-4E2E9BB794B7}" dt="2024-02-09T07:46:53.007" v="204"/>
          <ac:spMkLst>
            <pc:docMk/>
            <pc:sldMk cId="115702695" sldId="2147474061"/>
            <ac:spMk id="8" creationId="{23F6C82B-C9EF-E966-176D-7186CE0C17B0}"/>
          </ac:spMkLst>
        </pc:spChg>
        <pc:picChg chg="add mod">
          <ac:chgData name="Zhan, Yao" userId="S::yao.zhan@takeda.com::37b612df-86ed-4d30-8716-76c92ac1c591" providerId="AD" clId="Web-{5F165BCA-926E-D709-35CD-4E2E9BB794B7}" dt="2024-02-09T07:58:50.787" v="212" actId="1076"/>
          <ac:picMkLst>
            <pc:docMk/>
            <pc:sldMk cId="115702695" sldId="2147474061"/>
            <ac:picMk id="9" creationId="{ACB7DE16-DDED-8E8A-3A9E-BD6E0C027700}"/>
          </ac:picMkLst>
        </pc:picChg>
        <pc:picChg chg="add mod">
          <ac:chgData name="Zhan, Yao" userId="S::yao.zhan@takeda.com::37b612df-86ed-4d30-8716-76c92ac1c591" providerId="AD" clId="Web-{5F165BCA-926E-D709-35CD-4E2E9BB794B7}" dt="2024-02-09T08:01:14.625" v="215" actId="1076"/>
          <ac:picMkLst>
            <pc:docMk/>
            <pc:sldMk cId="115702695" sldId="2147474061"/>
            <ac:picMk id="10" creationId="{D576A7D1-272A-782D-D219-EC58EF970EB3}"/>
          </ac:picMkLst>
        </pc:picChg>
        <pc:picChg chg="add mod">
          <ac:chgData name="Zhan, Yao" userId="S::yao.zhan@takeda.com::37b612df-86ed-4d30-8716-76c92ac1c591" providerId="AD" clId="Web-{5F165BCA-926E-D709-35CD-4E2E9BB794B7}" dt="2024-02-09T08:02:14.942" v="217" actId="1076"/>
          <ac:picMkLst>
            <pc:docMk/>
            <pc:sldMk cId="115702695" sldId="2147474061"/>
            <ac:picMk id="11" creationId="{5CC600A6-CEC6-DEEF-E9D2-CDE287D69026}"/>
          </ac:picMkLst>
        </pc:picChg>
      </pc:sldChg>
      <pc:sldChg chg="addSp delSp modSp add replId">
        <pc:chgData name="Zhan, Yao" userId="S::yao.zhan@takeda.com::37b612df-86ed-4d30-8716-76c92ac1c591" providerId="AD" clId="Web-{5F165BCA-926E-D709-35CD-4E2E9BB794B7}" dt="2024-02-09T07:46:38.084" v="202" actId="20577"/>
        <pc:sldMkLst>
          <pc:docMk/>
          <pc:sldMk cId="756235382" sldId="2147474062"/>
        </pc:sldMkLst>
        <pc:spChg chg="mod">
          <ac:chgData name="Zhan, Yao" userId="S::yao.zhan@takeda.com::37b612df-86ed-4d30-8716-76c92ac1c591" providerId="AD" clId="Web-{5F165BCA-926E-D709-35CD-4E2E9BB794B7}" dt="2024-02-09T07:46:38.084" v="202" actId="20577"/>
          <ac:spMkLst>
            <pc:docMk/>
            <pc:sldMk cId="756235382" sldId="2147474062"/>
            <ac:spMk id="4" creationId="{5D551795-7791-10C7-9B41-75BFD6743DF8}"/>
          </ac:spMkLst>
        </pc:spChg>
        <pc:spChg chg="add mod">
          <ac:chgData name="Zhan, Yao" userId="S::yao.zhan@takeda.com::37b612df-86ed-4d30-8716-76c92ac1c591" providerId="AD" clId="Web-{5F165BCA-926E-D709-35CD-4E2E9BB794B7}" dt="2024-02-09T07:25:58.285" v="84"/>
          <ac:spMkLst>
            <pc:docMk/>
            <pc:sldMk cId="756235382" sldId="2147474062"/>
            <ac:spMk id="7" creationId="{AB452AB7-F26D-BCDF-E041-2FC8660003B1}"/>
          </ac:spMkLst>
        </pc:spChg>
        <pc:spChg chg="add mod">
          <ac:chgData name="Zhan, Yao" userId="S::yao.zhan@takeda.com::37b612df-86ed-4d30-8716-76c92ac1c591" providerId="AD" clId="Web-{5F165BCA-926E-D709-35CD-4E2E9BB794B7}" dt="2024-02-09T07:45:04.562" v="111" actId="14100"/>
          <ac:spMkLst>
            <pc:docMk/>
            <pc:sldMk cId="756235382" sldId="2147474062"/>
            <ac:spMk id="9" creationId="{A9506B63-97AC-C922-E883-4036F099A874}"/>
          </ac:spMkLst>
        </pc:spChg>
        <pc:spChg chg="mod ord">
          <ac:chgData name="Zhan, Yao" userId="S::yao.zhan@takeda.com::37b612df-86ed-4d30-8716-76c92ac1c591" providerId="AD" clId="Web-{5F165BCA-926E-D709-35CD-4E2E9BB794B7}" dt="2024-02-09T07:26:02.051" v="85"/>
          <ac:spMkLst>
            <pc:docMk/>
            <pc:sldMk cId="756235382" sldId="2147474062"/>
            <ac:spMk id="15" creationId="{8EC5E304-D3C9-047D-3D90-0601A74EFE6D}"/>
          </ac:spMkLst>
        </pc:spChg>
        <pc:spChg chg="add mod">
          <ac:chgData name="Zhan, Yao" userId="S::yao.zhan@takeda.com::37b612df-86ed-4d30-8716-76c92ac1c591" providerId="AD" clId="Web-{5F165BCA-926E-D709-35CD-4E2E9BB794B7}" dt="2024-02-09T07:26:33.208" v="91" actId="14100"/>
          <ac:spMkLst>
            <pc:docMk/>
            <pc:sldMk cId="756235382" sldId="2147474062"/>
            <ac:spMk id="17" creationId="{1219E4A3-6723-0EC1-EDA3-420EDA67DE2E}"/>
          </ac:spMkLst>
        </pc:spChg>
        <pc:spChg chg="add mod">
          <ac:chgData name="Zhan, Yao" userId="S::yao.zhan@takeda.com::37b612df-86ed-4d30-8716-76c92ac1c591" providerId="AD" clId="Web-{5F165BCA-926E-D709-35CD-4E2E9BB794B7}" dt="2024-02-09T07:26:43.896" v="94" actId="14100"/>
          <ac:spMkLst>
            <pc:docMk/>
            <pc:sldMk cId="756235382" sldId="2147474062"/>
            <ac:spMk id="18" creationId="{F27FE657-716B-3815-4D44-AD2C10AE062D}"/>
          </ac:spMkLst>
        </pc:spChg>
        <pc:spChg chg="add mod">
          <ac:chgData name="Zhan, Yao" userId="S::yao.zhan@takeda.com::37b612df-86ed-4d30-8716-76c92ac1c591" providerId="AD" clId="Web-{5F165BCA-926E-D709-35CD-4E2E9BB794B7}" dt="2024-02-09T07:27:06.178" v="100" actId="14100"/>
          <ac:spMkLst>
            <pc:docMk/>
            <pc:sldMk cId="756235382" sldId="2147474062"/>
            <ac:spMk id="19" creationId="{949EC80A-B251-D297-B824-1849BF299B91}"/>
          </ac:spMkLst>
        </pc:spChg>
        <pc:spChg chg="add mod">
          <ac:chgData name="Zhan, Yao" userId="S::yao.zhan@takeda.com::37b612df-86ed-4d30-8716-76c92ac1c591" providerId="AD" clId="Web-{5F165BCA-926E-D709-35CD-4E2E9BB794B7}" dt="2024-02-09T07:27:29.163" v="103" actId="1076"/>
          <ac:spMkLst>
            <pc:docMk/>
            <pc:sldMk cId="756235382" sldId="2147474062"/>
            <ac:spMk id="20" creationId="{6D310C23-F9C6-306A-0D20-41E064F27FE5}"/>
          </ac:spMkLst>
        </pc:spChg>
        <pc:picChg chg="add mod">
          <ac:chgData name="Zhan, Yao" userId="S::yao.zhan@takeda.com::37b612df-86ed-4d30-8716-76c92ac1c591" providerId="AD" clId="Web-{5F165BCA-926E-D709-35CD-4E2E9BB794B7}" dt="2024-02-09T07:25:17.437" v="77" actId="1076"/>
          <ac:picMkLst>
            <pc:docMk/>
            <pc:sldMk cId="756235382" sldId="2147474062"/>
            <ac:picMk id="2" creationId="{2B6A3626-F185-D6E4-FEC6-9CEB5EB73E2A}"/>
          </ac:picMkLst>
        </pc:picChg>
        <pc:picChg chg="del">
          <ac:chgData name="Zhan, Yao" userId="S::yao.zhan@takeda.com::37b612df-86ed-4d30-8716-76c92ac1c591" providerId="AD" clId="Web-{5F165BCA-926E-D709-35CD-4E2E9BB794B7}" dt="2024-02-09T07:25:04.952" v="73"/>
          <ac:picMkLst>
            <pc:docMk/>
            <pc:sldMk cId="756235382" sldId="2147474062"/>
            <ac:picMk id="8" creationId="{4EBB7495-D65A-2E05-9CA4-173EF52932F0}"/>
          </ac:picMkLst>
        </pc:picChg>
        <pc:picChg chg="add mod">
          <ac:chgData name="Zhan, Yao" userId="S::yao.zhan@takeda.com::37b612df-86ed-4d30-8716-76c92ac1c591" providerId="AD" clId="Web-{5F165BCA-926E-D709-35CD-4E2E9BB794B7}" dt="2024-02-09T07:44:48.655" v="108" actId="1076"/>
          <ac:picMkLst>
            <pc:docMk/>
            <pc:sldMk cId="756235382" sldId="2147474062"/>
            <ac:picMk id="8" creationId="{640763F4-5740-59DB-7269-5B3B2ECFEC10}"/>
          </ac:picMkLst>
        </pc:picChg>
        <pc:picChg chg="del">
          <ac:chgData name="Zhan, Yao" userId="S::yao.zhan@takeda.com::37b612df-86ed-4d30-8716-76c92ac1c591" providerId="AD" clId="Web-{5F165BCA-926E-D709-35CD-4E2E9BB794B7}" dt="2024-02-09T07:25:06.890" v="74"/>
          <ac:picMkLst>
            <pc:docMk/>
            <pc:sldMk cId="756235382" sldId="2147474062"/>
            <ac:picMk id="9" creationId="{70D93534-4290-8AE1-7EAF-7E0EB76274F2}"/>
          </ac:picMkLst>
        </pc:picChg>
      </pc:sldChg>
      <pc:sldChg chg="addSp delSp modSp add replId">
        <pc:chgData name="Zhan, Yao" userId="S::yao.zhan@takeda.com::37b612df-86ed-4d30-8716-76c92ac1c591" providerId="AD" clId="Web-{5F165BCA-926E-D709-35CD-4E2E9BB794B7}" dt="2024-02-09T06:42:56.753" v="72" actId="1076"/>
        <pc:sldMkLst>
          <pc:docMk/>
          <pc:sldMk cId="1711050" sldId="2147474063"/>
        </pc:sldMkLst>
        <pc:spChg chg="del">
          <ac:chgData name="Zhan, Yao" userId="S::yao.zhan@takeda.com::37b612df-86ed-4d30-8716-76c92ac1c591" providerId="AD" clId="Web-{5F165BCA-926E-D709-35CD-4E2E9BB794B7}" dt="2024-02-09T03:47:31.664" v="36"/>
          <ac:spMkLst>
            <pc:docMk/>
            <pc:sldMk cId="1711050" sldId="2147474063"/>
            <ac:spMk id="3" creationId="{E941E43B-538E-52F3-C816-FBAB7126D138}"/>
          </ac:spMkLst>
        </pc:spChg>
        <pc:spChg chg="add mod">
          <ac:chgData name="Zhan, Yao" userId="S::yao.zhan@takeda.com::37b612df-86ed-4d30-8716-76c92ac1c591" providerId="AD" clId="Web-{5F165BCA-926E-D709-35CD-4E2E9BB794B7}" dt="2024-02-09T06:41:41.048" v="58" actId="1076"/>
          <ac:spMkLst>
            <pc:docMk/>
            <pc:sldMk cId="1711050" sldId="2147474063"/>
            <ac:spMk id="8" creationId="{1CC5E9FF-2579-1BD9-8533-4D2974F3B6E6}"/>
          </ac:spMkLst>
        </pc:spChg>
        <pc:spChg chg="add mod">
          <ac:chgData name="Zhan, Yao" userId="S::yao.zhan@takeda.com::37b612df-86ed-4d30-8716-76c92ac1c591" providerId="AD" clId="Web-{5F165BCA-926E-D709-35CD-4E2E9BB794B7}" dt="2024-02-09T06:41:47.626" v="60" actId="1076"/>
          <ac:spMkLst>
            <pc:docMk/>
            <pc:sldMk cId="1711050" sldId="2147474063"/>
            <ac:spMk id="9" creationId="{6148D4B8-2F83-6C4D-80DC-E8B1671C6407}"/>
          </ac:spMkLst>
        </pc:spChg>
        <pc:spChg chg="add mod">
          <ac:chgData name="Zhan, Yao" userId="S::yao.zhan@takeda.com::37b612df-86ed-4d30-8716-76c92ac1c591" providerId="AD" clId="Web-{5F165BCA-926E-D709-35CD-4E2E9BB794B7}" dt="2024-02-09T06:41:55.501" v="62" actId="1076"/>
          <ac:spMkLst>
            <pc:docMk/>
            <pc:sldMk cId="1711050" sldId="2147474063"/>
            <ac:spMk id="10" creationId="{4F241717-A859-2731-830D-F62EDA21FDE6}"/>
          </ac:spMkLst>
        </pc:spChg>
        <pc:spChg chg="add mod">
          <ac:chgData name="Zhan, Yao" userId="S::yao.zhan@takeda.com::37b612df-86ed-4d30-8716-76c92ac1c591" providerId="AD" clId="Web-{5F165BCA-926E-D709-35CD-4E2E9BB794B7}" dt="2024-02-09T06:42:19.674" v="64" actId="1076"/>
          <ac:spMkLst>
            <pc:docMk/>
            <pc:sldMk cId="1711050" sldId="2147474063"/>
            <ac:spMk id="11" creationId="{70A3246F-E81D-D73F-FDC3-F765957762AF}"/>
          </ac:spMkLst>
        </pc:spChg>
        <pc:spChg chg="add mod">
          <ac:chgData name="Zhan, Yao" userId="S::yao.zhan@takeda.com::37b612df-86ed-4d30-8716-76c92ac1c591" providerId="AD" clId="Web-{5F165BCA-926E-D709-35CD-4E2E9BB794B7}" dt="2024-02-09T06:42:36.096" v="66" actId="1076"/>
          <ac:spMkLst>
            <pc:docMk/>
            <pc:sldMk cId="1711050" sldId="2147474063"/>
            <ac:spMk id="12" creationId="{53447D89-01BC-2562-04E6-71AE6E940820}"/>
          </ac:spMkLst>
        </pc:spChg>
        <pc:spChg chg="add mod">
          <ac:chgData name="Zhan, Yao" userId="S::yao.zhan@takeda.com::37b612df-86ed-4d30-8716-76c92ac1c591" providerId="AD" clId="Web-{5F165BCA-926E-D709-35CD-4E2E9BB794B7}" dt="2024-02-09T06:42:40.549" v="68" actId="1076"/>
          <ac:spMkLst>
            <pc:docMk/>
            <pc:sldMk cId="1711050" sldId="2147474063"/>
            <ac:spMk id="13" creationId="{9E98D78F-8461-8FC4-9D14-87A7E63ED70B}"/>
          </ac:spMkLst>
        </pc:spChg>
        <pc:spChg chg="add mod">
          <ac:chgData name="Zhan, Yao" userId="S::yao.zhan@takeda.com::37b612df-86ed-4d30-8716-76c92ac1c591" providerId="AD" clId="Web-{5F165BCA-926E-D709-35CD-4E2E9BB794B7}" dt="2024-02-09T06:42:49.159" v="70" actId="1076"/>
          <ac:spMkLst>
            <pc:docMk/>
            <pc:sldMk cId="1711050" sldId="2147474063"/>
            <ac:spMk id="14" creationId="{64806D49-A082-3089-2DE5-94D61E090C42}"/>
          </ac:spMkLst>
        </pc:spChg>
        <pc:spChg chg="add mod">
          <ac:chgData name="Zhan, Yao" userId="S::yao.zhan@takeda.com::37b612df-86ed-4d30-8716-76c92ac1c591" providerId="AD" clId="Web-{5F165BCA-926E-D709-35CD-4E2E9BB794B7}" dt="2024-02-09T06:42:56.753" v="72" actId="1076"/>
          <ac:spMkLst>
            <pc:docMk/>
            <pc:sldMk cId="1711050" sldId="2147474063"/>
            <ac:spMk id="15" creationId="{5A7260AA-0882-4A01-09A7-AF3DE627638B}"/>
          </ac:spMkLst>
        </pc:spChg>
        <pc:spChg chg="del">
          <ac:chgData name="Zhan, Yao" userId="S::yao.zhan@takeda.com::37b612df-86ed-4d30-8716-76c92ac1c591" providerId="AD" clId="Web-{5F165BCA-926E-D709-35CD-4E2E9BB794B7}" dt="2024-02-09T03:47:31.664" v="32"/>
          <ac:spMkLst>
            <pc:docMk/>
            <pc:sldMk cId="1711050" sldId="2147474063"/>
            <ac:spMk id="17" creationId="{75922574-5FCC-3A7C-B86E-9B67AA7B90D5}"/>
          </ac:spMkLst>
        </pc:spChg>
        <pc:spChg chg="del">
          <ac:chgData name="Zhan, Yao" userId="S::yao.zhan@takeda.com::37b612df-86ed-4d30-8716-76c92ac1c591" providerId="AD" clId="Web-{5F165BCA-926E-D709-35CD-4E2E9BB794B7}" dt="2024-02-09T03:47:31.664" v="31"/>
          <ac:spMkLst>
            <pc:docMk/>
            <pc:sldMk cId="1711050" sldId="2147474063"/>
            <ac:spMk id="18" creationId="{8810F383-7A36-FA8B-30DE-EFA5309AE52E}"/>
          </ac:spMkLst>
        </pc:spChg>
        <pc:spChg chg="del">
          <ac:chgData name="Zhan, Yao" userId="S::yao.zhan@takeda.com::37b612df-86ed-4d30-8716-76c92ac1c591" providerId="AD" clId="Web-{5F165BCA-926E-D709-35CD-4E2E9BB794B7}" dt="2024-02-09T03:47:31.664" v="30"/>
          <ac:spMkLst>
            <pc:docMk/>
            <pc:sldMk cId="1711050" sldId="2147474063"/>
            <ac:spMk id="19" creationId="{E00E2F96-E34E-000D-97AC-D6993F78179F}"/>
          </ac:spMkLst>
        </pc:spChg>
        <pc:spChg chg="del">
          <ac:chgData name="Zhan, Yao" userId="S::yao.zhan@takeda.com::37b612df-86ed-4d30-8716-76c92ac1c591" providerId="AD" clId="Web-{5F165BCA-926E-D709-35CD-4E2E9BB794B7}" dt="2024-02-09T03:47:31.664" v="29"/>
          <ac:spMkLst>
            <pc:docMk/>
            <pc:sldMk cId="1711050" sldId="2147474063"/>
            <ac:spMk id="21" creationId="{85C28BC4-FD75-23C4-26AC-4E69BC96739F}"/>
          </ac:spMkLst>
        </pc:spChg>
        <pc:spChg chg="del">
          <ac:chgData name="Zhan, Yao" userId="S::yao.zhan@takeda.com::37b612df-86ed-4d30-8716-76c92ac1c591" providerId="AD" clId="Web-{5F165BCA-926E-D709-35CD-4E2E9BB794B7}" dt="2024-02-09T03:47:31.664" v="28"/>
          <ac:spMkLst>
            <pc:docMk/>
            <pc:sldMk cId="1711050" sldId="2147474063"/>
            <ac:spMk id="22" creationId="{D928E670-6D46-83DA-ECBD-66D5397007A0}"/>
          </ac:spMkLst>
        </pc:spChg>
        <pc:spChg chg="del">
          <ac:chgData name="Zhan, Yao" userId="S::yao.zhan@takeda.com::37b612df-86ed-4d30-8716-76c92ac1c591" providerId="AD" clId="Web-{5F165BCA-926E-D709-35CD-4E2E9BB794B7}" dt="2024-02-09T03:47:31.664" v="27"/>
          <ac:spMkLst>
            <pc:docMk/>
            <pc:sldMk cId="1711050" sldId="2147474063"/>
            <ac:spMk id="23" creationId="{B586344F-1EE3-6277-55A8-6F50B1F4DE6A}"/>
          </ac:spMkLst>
        </pc:spChg>
        <pc:spChg chg="del">
          <ac:chgData name="Zhan, Yao" userId="S::yao.zhan@takeda.com::37b612df-86ed-4d30-8716-76c92ac1c591" providerId="AD" clId="Web-{5F165BCA-926E-D709-35CD-4E2E9BB794B7}" dt="2024-02-09T03:47:31.664" v="26"/>
          <ac:spMkLst>
            <pc:docMk/>
            <pc:sldMk cId="1711050" sldId="2147474063"/>
            <ac:spMk id="24" creationId="{9AB988EF-7A6E-FE2F-EC8A-0E388942BEED}"/>
          </ac:spMkLst>
        </pc:spChg>
        <pc:spChg chg="del">
          <ac:chgData name="Zhan, Yao" userId="S::yao.zhan@takeda.com::37b612df-86ed-4d30-8716-76c92ac1c591" providerId="AD" clId="Web-{5F165BCA-926E-D709-35CD-4E2E9BB794B7}" dt="2024-02-09T03:47:31.664" v="25"/>
          <ac:spMkLst>
            <pc:docMk/>
            <pc:sldMk cId="1711050" sldId="2147474063"/>
            <ac:spMk id="25" creationId="{ED0C8F08-EA36-22AA-1723-3DB931BD825A}"/>
          </ac:spMkLst>
        </pc:spChg>
        <pc:spChg chg="del">
          <ac:chgData name="Zhan, Yao" userId="S::yao.zhan@takeda.com::37b612df-86ed-4d30-8716-76c92ac1c591" providerId="AD" clId="Web-{5F165BCA-926E-D709-35CD-4E2E9BB794B7}" dt="2024-02-09T03:47:31.664" v="24"/>
          <ac:spMkLst>
            <pc:docMk/>
            <pc:sldMk cId="1711050" sldId="2147474063"/>
            <ac:spMk id="26" creationId="{B1139292-E1D3-E50A-E044-4065BC8E6D1D}"/>
          </ac:spMkLst>
        </pc:spChg>
        <pc:picChg chg="add mod">
          <ac:chgData name="Zhan, Yao" userId="S::yao.zhan@takeda.com::37b612df-86ed-4d30-8716-76c92ac1c591" providerId="AD" clId="Web-{5F165BCA-926E-D709-35CD-4E2E9BB794B7}" dt="2024-02-09T03:53:20.235" v="47" actId="1076"/>
          <ac:picMkLst>
            <pc:docMk/>
            <pc:sldMk cId="1711050" sldId="2147474063"/>
            <ac:picMk id="2" creationId="{617A9771-E3BD-C104-867E-3FC6EA05C300}"/>
          </ac:picMkLst>
        </pc:picChg>
        <pc:picChg chg="add mod">
          <ac:chgData name="Zhan, Yao" userId="S::yao.zhan@takeda.com::37b612df-86ed-4d30-8716-76c92ac1c591" providerId="AD" clId="Web-{5F165BCA-926E-D709-35CD-4E2E9BB794B7}" dt="2024-02-09T03:53:36.845" v="51" actId="1076"/>
          <ac:picMkLst>
            <pc:docMk/>
            <pc:sldMk cId="1711050" sldId="2147474063"/>
            <ac:picMk id="6" creationId="{31D55A25-DB4A-CA74-45CC-3944D229E4C0}"/>
          </ac:picMkLst>
        </pc:picChg>
        <pc:picChg chg="add mod">
          <ac:chgData name="Zhan, Yao" userId="S::yao.zhan@takeda.com::37b612df-86ed-4d30-8716-76c92ac1c591" providerId="AD" clId="Web-{5F165BCA-926E-D709-35CD-4E2E9BB794B7}" dt="2024-02-09T03:54:10.533" v="56" actId="1076"/>
          <ac:picMkLst>
            <pc:docMk/>
            <pc:sldMk cId="1711050" sldId="2147474063"/>
            <ac:picMk id="7" creationId="{C7A594DA-7A7A-86CC-8711-4EC5DEFC306A}"/>
          </ac:picMkLst>
        </pc:picChg>
        <pc:picChg chg="del">
          <ac:chgData name="Zhan, Yao" userId="S::yao.zhan@takeda.com::37b612df-86ed-4d30-8716-76c92ac1c591" providerId="AD" clId="Web-{5F165BCA-926E-D709-35CD-4E2E9BB794B7}" dt="2024-02-09T03:47:31.664" v="35"/>
          <ac:picMkLst>
            <pc:docMk/>
            <pc:sldMk cId="1711050" sldId="2147474063"/>
            <ac:picMk id="14" creationId="{7E3821D4-319A-A5AF-56D8-1B6DC06C6F04}"/>
          </ac:picMkLst>
        </pc:picChg>
        <pc:picChg chg="del">
          <ac:chgData name="Zhan, Yao" userId="S::yao.zhan@takeda.com::37b612df-86ed-4d30-8716-76c92ac1c591" providerId="AD" clId="Web-{5F165BCA-926E-D709-35CD-4E2E9BB794B7}" dt="2024-02-09T03:47:31.664" v="34"/>
          <ac:picMkLst>
            <pc:docMk/>
            <pc:sldMk cId="1711050" sldId="2147474063"/>
            <ac:picMk id="15" creationId="{EC6A97CE-203E-EFDF-B0D0-CD83D8E32BBC}"/>
          </ac:picMkLst>
        </pc:picChg>
        <pc:picChg chg="del">
          <ac:chgData name="Zhan, Yao" userId="S::yao.zhan@takeda.com::37b612df-86ed-4d30-8716-76c92ac1c591" providerId="AD" clId="Web-{5F165BCA-926E-D709-35CD-4E2E9BB794B7}" dt="2024-02-09T03:47:31.664" v="33"/>
          <ac:picMkLst>
            <pc:docMk/>
            <pc:sldMk cId="1711050" sldId="2147474063"/>
            <ac:picMk id="16" creationId="{BF6C6B26-1502-0FC4-D7EB-72CC1FB45C97}"/>
          </ac:picMkLst>
        </pc:picChg>
      </pc:sldChg>
      <pc:sldChg chg="addSp delSp modSp new">
        <pc:chgData name="Zhan, Yao" userId="S::yao.zhan@takeda.com::37b612df-86ed-4d30-8716-76c92ac1c591" providerId="AD" clId="Web-{5F165BCA-926E-D709-35CD-4E2E9BB794B7}" dt="2024-02-09T08:55:47.320" v="227" actId="1076"/>
        <pc:sldMkLst>
          <pc:docMk/>
          <pc:sldMk cId="1921636955" sldId="2147474064"/>
        </pc:sldMkLst>
        <pc:spChg chg="del">
          <ac:chgData name="Zhan, Yao" userId="S::yao.zhan@takeda.com::37b612df-86ed-4d30-8716-76c92ac1c591" providerId="AD" clId="Web-{5F165BCA-926E-D709-35CD-4E2E9BB794B7}" dt="2024-02-09T08:54:28.737" v="219"/>
          <ac:spMkLst>
            <pc:docMk/>
            <pc:sldMk cId="1921636955" sldId="2147474064"/>
            <ac:spMk id="2" creationId="{1C625DEE-7063-8684-F1ED-C6207F65083C}"/>
          </ac:spMkLst>
        </pc:spChg>
        <pc:picChg chg="add del mod modCrop">
          <ac:chgData name="Zhan, Yao" userId="S::yao.zhan@takeda.com::37b612df-86ed-4d30-8716-76c92ac1c591" providerId="AD" clId="Web-{5F165BCA-926E-D709-35CD-4E2E9BB794B7}" dt="2024-02-09T08:54:58.098" v="224"/>
          <ac:picMkLst>
            <pc:docMk/>
            <pc:sldMk cId="1921636955" sldId="2147474064"/>
            <ac:picMk id="7" creationId="{8A555CAA-58F4-CB68-09B1-0D9F4C98E64F}"/>
          </ac:picMkLst>
        </pc:picChg>
        <pc:picChg chg="add mod">
          <ac:chgData name="Zhan, Yao" userId="S::yao.zhan@takeda.com::37b612df-86ed-4d30-8716-76c92ac1c591" providerId="AD" clId="Web-{5F165BCA-926E-D709-35CD-4E2E9BB794B7}" dt="2024-02-09T08:55:47.320" v="227" actId="1076"/>
          <ac:picMkLst>
            <pc:docMk/>
            <pc:sldMk cId="1921636955" sldId="2147474064"/>
            <ac:picMk id="8" creationId="{D0CFE486-6CBF-9717-72D2-CCF85D3047E8}"/>
          </ac:picMkLst>
        </pc:picChg>
      </pc:sldChg>
    </pc:docChg>
  </pc:docChgLst>
  <pc:docChgLst>
    <pc:chgData name="Zhan, Yao" userId="37b612df-86ed-4d30-8716-76c92ac1c591" providerId="ADAL" clId="{FE8EEA09-C911-1F4B-9BEC-FE7D846BF60C}"/>
    <pc:docChg chg="undo custSel addSld modSld sldOrd modSection">
      <pc:chgData name="Zhan, Yao" userId="37b612df-86ed-4d30-8716-76c92ac1c591" providerId="ADAL" clId="{FE8EEA09-C911-1F4B-9BEC-FE7D846BF60C}" dt="2024-01-26T22:12:24.212" v="811" actId="20577"/>
      <pc:docMkLst>
        <pc:docMk/>
      </pc:docMkLst>
      <pc:sldChg chg="ord">
        <pc:chgData name="Zhan, Yao" userId="37b612df-86ed-4d30-8716-76c92ac1c591" providerId="ADAL" clId="{FE8EEA09-C911-1F4B-9BEC-FE7D846BF60C}" dt="2024-01-26T16:04:58.392" v="5" actId="20578"/>
        <pc:sldMkLst>
          <pc:docMk/>
          <pc:sldMk cId="2969239757" sldId="2147474033"/>
        </pc:sldMkLst>
      </pc:sldChg>
      <pc:sldChg chg="addSp delSp modSp mod">
        <pc:chgData name="Zhan, Yao" userId="37b612df-86ed-4d30-8716-76c92ac1c591" providerId="ADAL" clId="{FE8EEA09-C911-1F4B-9BEC-FE7D846BF60C}" dt="2024-01-26T16:07:23.309" v="152" actId="1076"/>
        <pc:sldMkLst>
          <pc:docMk/>
          <pc:sldMk cId="442370221" sldId="2147474034"/>
        </pc:sldMkLst>
        <pc:spChg chg="del">
          <ac:chgData name="Zhan, Yao" userId="37b612df-86ed-4d30-8716-76c92ac1c591" providerId="ADAL" clId="{FE8EEA09-C911-1F4B-9BEC-FE7D846BF60C}" dt="2024-01-26T16:05:07.507" v="6" actId="478"/>
          <ac:spMkLst>
            <pc:docMk/>
            <pc:sldMk cId="442370221" sldId="2147474034"/>
            <ac:spMk id="2" creationId="{9EBC6A4F-BDE7-31F3-3EAE-EED4FBE4900C}"/>
          </ac:spMkLst>
        </pc:spChg>
        <pc:spChg chg="del">
          <ac:chgData name="Zhan, Yao" userId="37b612df-86ed-4d30-8716-76c92ac1c591" providerId="ADAL" clId="{FE8EEA09-C911-1F4B-9BEC-FE7D846BF60C}" dt="2024-01-26T16:05:54.376" v="13"/>
          <ac:spMkLst>
            <pc:docMk/>
            <pc:sldMk cId="442370221" sldId="2147474034"/>
            <ac:spMk id="4" creationId="{6D09B072-E3F6-64C7-7407-5ECE65FE0A06}"/>
          </ac:spMkLst>
        </pc:spChg>
        <pc:spChg chg="add mod">
          <ac:chgData name="Zhan, Yao" userId="37b612df-86ed-4d30-8716-76c92ac1c591" providerId="ADAL" clId="{FE8EEA09-C911-1F4B-9BEC-FE7D846BF60C}" dt="2024-01-26T16:07:23.309" v="152" actId="1076"/>
          <ac:spMkLst>
            <pc:docMk/>
            <pc:sldMk cId="442370221" sldId="2147474034"/>
            <ac:spMk id="8" creationId="{510A8F21-CC10-1263-D450-6A7F75E938CD}"/>
          </ac:spMkLst>
        </pc:spChg>
        <pc:picChg chg="add mod">
          <ac:chgData name="Zhan, Yao" userId="37b612df-86ed-4d30-8716-76c92ac1c591" providerId="ADAL" clId="{FE8EEA09-C911-1F4B-9BEC-FE7D846BF60C}" dt="2024-01-26T16:05:42.691" v="12" actId="1076"/>
          <ac:picMkLst>
            <pc:docMk/>
            <pc:sldMk cId="442370221" sldId="2147474034"/>
            <ac:picMk id="7" creationId="{C9AAC5E2-09D9-D15C-B4D1-39D3C5F1098B}"/>
          </ac:picMkLst>
        </pc:picChg>
      </pc:sldChg>
      <pc:sldChg chg="addSp delSp modSp new mod">
        <pc:chgData name="Zhan, Yao" userId="37b612df-86ed-4d30-8716-76c92ac1c591" providerId="ADAL" clId="{FE8EEA09-C911-1F4B-9BEC-FE7D846BF60C}" dt="2024-01-26T16:10:46.745" v="161" actId="1076"/>
        <pc:sldMkLst>
          <pc:docMk/>
          <pc:sldMk cId="3310900309" sldId="2147474035"/>
        </pc:sldMkLst>
        <pc:spChg chg="del">
          <ac:chgData name="Zhan, Yao" userId="37b612df-86ed-4d30-8716-76c92ac1c591" providerId="ADAL" clId="{FE8EEA09-C911-1F4B-9BEC-FE7D846BF60C}" dt="2024-01-26T16:08:41.759" v="154" actId="478"/>
          <ac:spMkLst>
            <pc:docMk/>
            <pc:sldMk cId="3310900309" sldId="2147474035"/>
            <ac:spMk id="2" creationId="{781DD4B3-77E7-6FCB-0965-EE3118082B3E}"/>
          </ac:spMkLst>
        </pc:spChg>
        <pc:picChg chg="add del mod">
          <ac:chgData name="Zhan, Yao" userId="37b612df-86ed-4d30-8716-76c92ac1c591" providerId="ADAL" clId="{FE8EEA09-C911-1F4B-9BEC-FE7D846BF60C}" dt="2024-01-26T16:10:37.762" v="158" actId="478"/>
          <ac:picMkLst>
            <pc:docMk/>
            <pc:sldMk cId="3310900309" sldId="2147474035"/>
            <ac:picMk id="7" creationId="{EC38A88E-6F3C-3A2F-EEC3-AF7F7C695D8C}"/>
          </ac:picMkLst>
        </pc:picChg>
        <pc:picChg chg="add mod">
          <ac:chgData name="Zhan, Yao" userId="37b612df-86ed-4d30-8716-76c92ac1c591" providerId="ADAL" clId="{FE8EEA09-C911-1F4B-9BEC-FE7D846BF60C}" dt="2024-01-26T16:10:46.745" v="161" actId="1076"/>
          <ac:picMkLst>
            <pc:docMk/>
            <pc:sldMk cId="3310900309" sldId="2147474035"/>
            <ac:picMk id="8" creationId="{AD033166-B438-74B8-9C7E-629CE702C954}"/>
          </ac:picMkLst>
        </pc:picChg>
      </pc:sldChg>
      <pc:sldChg chg="addSp delSp modSp new mod">
        <pc:chgData name="Zhan, Yao" userId="37b612df-86ed-4d30-8716-76c92ac1c591" providerId="ADAL" clId="{FE8EEA09-C911-1F4B-9BEC-FE7D846BF60C}" dt="2024-01-26T20:09:34.526" v="362" actId="313"/>
        <pc:sldMkLst>
          <pc:docMk/>
          <pc:sldMk cId="838055334" sldId="2147474036"/>
        </pc:sldMkLst>
        <pc:spChg chg="del">
          <ac:chgData name="Zhan, Yao" userId="37b612df-86ed-4d30-8716-76c92ac1c591" providerId="ADAL" clId="{FE8EEA09-C911-1F4B-9BEC-FE7D846BF60C}" dt="2024-01-26T16:31:40.645" v="163" actId="478"/>
          <ac:spMkLst>
            <pc:docMk/>
            <pc:sldMk cId="838055334" sldId="2147474036"/>
            <ac:spMk id="2" creationId="{C55D58F7-FCA1-78ED-E694-323229839598}"/>
          </ac:spMkLst>
        </pc:spChg>
        <pc:spChg chg="mod">
          <ac:chgData name="Zhan, Yao" userId="37b612df-86ed-4d30-8716-76c92ac1c591" providerId="ADAL" clId="{FE8EEA09-C911-1F4B-9BEC-FE7D846BF60C}" dt="2024-01-26T20:09:34.526" v="362" actId="313"/>
          <ac:spMkLst>
            <pc:docMk/>
            <pc:sldMk cId="838055334" sldId="2147474036"/>
            <ac:spMk id="4" creationId="{1F3703D1-88B2-A495-C5E9-F5D9D78E1F5B}"/>
          </ac:spMkLst>
        </pc:spChg>
        <pc:spChg chg="add mod">
          <ac:chgData name="Zhan, Yao" userId="37b612df-86ed-4d30-8716-76c92ac1c591" providerId="ADAL" clId="{FE8EEA09-C911-1F4B-9BEC-FE7D846BF60C}" dt="2024-01-26T20:06:28.078" v="212" actId="1035"/>
          <ac:spMkLst>
            <pc:docMk/>
            <pc:sldMk cId="838055334" sldId="2147474036"/>
            <ac:spMk id="14" creationId="{98138A0B-CBE6-49C4-ED8B-B0ED94C12814}"/>
          </ac:spMkLst>
        </pc:spChg>
        <pc:picChg chg="add del mod">
          <ac:chgData name="Zhan, Yao" userId="37b612df-86ed-4d30-8716-76c92ac1c591" providerId="ADAL" clId="{FE8EEA09-C911-1F4B-9BEC-FE7D846BF60C}" dt="2024-01-26T16:33:55.241" v="168" actId="478"/>
          <ac:picMkLst>
            <pc:docMk/>
            <pc:sldMk cId="838055334" sldId="2147474036"/>
            <ac:picMk id="7" creationId="{5B2FA52C-B834-61EB-3CF2-A890966B5A84}"/>
          </ac:picMkLst>
        </pc:picChg>
        <pc:picChg chg="add del mod">
          <ac:chgData name="Zhan, Yao" userId="37b612df-86ed-4d30-8716-76c92ac1c591" providerId="ADAL" clId="{FE8EEA09-C911-1F4B-9BEC-FE7D846BF60C}" dt="2024-01-26T19:49:19.026" v="185" actId="478"/>
          <ac:picMkLst>
            <pc:docMk/>
            <pc:sldMk cId="838055334" sldId="2147474036"/>
            <ac:picMk id="8" creationId="{8DE02E6E-BA99-749D-6451-41974047ED88}"/>
          </ac:picMkLst>
        </pc:picChg>
        <pc:picChg chg="add del mod">
          <ac:chgData name="Zhan, Yao" userId="37b612df-86ed-4d30-8716-76c92ac1c591" providerId="ADAL" clId="{FE8EEA09-C911-1F4B-9BEC-FE7D846BF60C}" dt="2024-01-26T16:59:11.545" v="177" actId="478"/>
          <ac:picMkLst>
            <pc:docMk/>
            <pc:sldMk cId="838055334" sldId="2147474036"/>
            <ac:picMk id="9" creationId="{C22B7DFD-5F29-FD98-06EB-DB5BF1E2BF19}"/>
          </ac:picMkLst>
        </pc:picChg>
        <pc:picChg chg="add del mod">
          <ac:chgData name="Zhan, Yao" userId="37b612df-86ed-4d30-8716-76c92ac1c591" providerId="ADAL" clId="{FE8EEA09-C911-1F4B-9BEC-FE7D846BF60C}" dt="2024-01-26T20:02:27.710" v="193" actId="478"/>
          <ac:picMkLst>
            <pc:docMk/>
            <pc:sldMk cId="838055334" sldId="2147474036"/>
            <ac:picMk id="10" creationId="{2AAC600F-2661-282B-1BA8-061D1E141026}"/>
          </ac:picMkLst>
        </pc:picChg>
        <pc:picChg chg="add del mod">
          <ac:chgData name="Zhan, Yao" userId="37b612df-86ed-4d30-8716-76c92ac1c591" providerId="ADAL" clId="{FE8EEA09-C911-1F4B-9BEC-FE7D846BF60C}" dt="2024-01-26T19:49:38.477" v="189" actId="478"/>
          <ac:picMkLst>
            <pc:docMk/>
            <pc:sldMk cId="838055334" sldId="2147474036"/>
            <ac:picMk id="11" creationId="{FEB8BA50-7820-8FDA-3CA8-9F4F00DDBED2}"/>
          </ac:picMkLst>
        </pc:picChg>
        <pc:picChg chg="add mod">
          <ac:chgData name="Zhan, Yao" userId="37b612df-86ed-4d30-8716-76c92ac1c591" providerId="ADAL" clId="{FE8EEA09-C911-1F4B-9BEC-FE7D846BF60C}" dt="2024-01-26T20:02:36.921" v="196" actId="1076"/>
          <ac:picMkLst>
            <pc:docMk/>
            <pc:sldMk cId="838055334" sldId="2147474036"/>
            <ac:picMk id="12" creationId="{51EA81BB-B8E1-793E-F62F-DEB4D3EFC147}"/>
          </ac:picMkLst>
        </pc:picChg>
        <pc:picChg chg="add mod">
          <ac:chgData name="Zhan, Yao" userId="37b612df-86ed-4d30-8716-76c92ac1c591" providerId="ADAL" clId="{FE8EEA09-C911-1F4B-9BEC-FE7D846BF60C}" dt="2024-01-26T20:05:26.816" v="197" actId="1076"/>
          <ac:picMkLst>
            <pc:docMk/>
            <pc:sldMk cId="838055334" sldId="2147474036"/>
            <ac:picMk id="13" creationId="{D8825FE3-40D5-F92A-4578-E134465C076E}"/>
          </ac:picMkLst>
        </pc:picChg>
      </pc:sldChg>
      <pc:sldChg chg="addSp delSp modSp new mod">
        <pc:chgData name="Zhan, Yao" userId="37b612df-86ed-4d30-8716-76c92ac1c591" providerId="ADAL" clId="{FE8EEA09-C911-1F4B-9BEC-FE7D846BF60C}" dt="2024-01-26T21:05:27.729" v="522" actId="20577"/>
        <pc:sldMkLst>
          <pc:docMk/>
          <pc:sldMk cId="1975933226" sldId="2147474037"/>
        </pc:sldMkLst>
        <pc:spChg chg="del">
          <ac:chgData name="Zhan, Yao" userId="37b612df-86ed-4d30-8716-76c92ac1c591" providerId="ADAL" clId="{FE8EEA09-C911-1F4B-9BEC-FE7D846BF60C}" dt="2024-01-26T20:09:42.481" v="364" actId="478"/>
          <ac:spMkLst>
            <pc:docMk/>
            <pc:sldMk cId="1975933226" sldId="2147474037"/>
            <ac:spMk id="2" creationId="{2D0B120C-638A-984E-5211-38C66730A7FD}"/>
          </ac:spMkLst>
        </pc:spChg>
        <pc:spChg chg="mod">
          <ac:chgData name="Zhan, Yao" userId="37b612df-86ed-4d30-8716-76c92ac1c591" providerId="ADAL" clId="{FE8EEA09-C911-1F4B-9BEC-FE7D846BF60C}" dt="2024-01-26T21:05:27.729" v="522" actId="20577"/>
          <ac:spMkLst>
            <pc:docMk/>
            <pc:sldMk cId="1975933226" sldId="2147474037"/>
            <ac:spMk id="4" creationId="{9110FAA1-9502-ABB3-4599-20F30BA482EE}"/>
          </ac:spMkLst>
        </pc:spChg>
        <pc:picChg chg="add del mod">
          <ac:chgData name="Zhan, Yao" userId="37b612df-86ed-4d30-8716-76c92ac1c591" providerId="ADAL" clId="{FE8EEA09-C911-1F4B-9BEC-FE7D846BF60C}" dt="2024-01-26T21:03:42.480" v="372" actId="478"/>
          <ac:picMkLst>
            <pc:docMk/>
            <pc:sldMk cId="1975933226" sldId="2147474037"/>
            <ac:picMk id="7" creationId="{5EC26C72-FF55-D211-B080-F98EAE72921A}"/>
          </ac:picMkLst>
        </pc:picChg>
        <pc:picChg chg="add del mod">
          <ac:chgData name="Zhan, Yao" userId="37b612df-86ed-4d30-8716-76c92ac1c591" providerId="ADAL" clId="{FE8EEA09-C911-1F4B-9BEC-FE7D846BF60C}" dt="2024-01-26T21:03:42.480" v="372" actId="478"/>
          <ac:picMkLst>
            <pc:docMk/>
            <pc:sldMk cId="1975933226" sldId="2147474037"/>
            <ac:picMk id="8" creationId="{635E4759-CBB4-F3C9-7759-3C9E964EF14A}"/>
          </ac:picMkLst>
        </pc:picChg>
        <pc:picChg chg="add mod">
          <ac:chgData name="Zhan, Yao" userId="37b612df-86ed-4d30-8716-76c92ac1c591" providerId="ADAL" clId="{FE8EEA09-C911-1F4B-9BEC-FE7D846BF60C}" dt="2024-01-26T21:03:51.691" v="375" actId="1076"/>
          <ac:picMkLst>
            <pc:docMk/>
            <pc:sldMk cId="1975933226" sldId="2147474037"/>
            <ac:picMk id="9" creationId="{308B0B6D-3053-99B4-1335-DFC32820AACE}"/>
          </ac:picMkLst>
        </pc:picChg>
      </pc:sldChg>
      <pc:sldChg chg="addSp delSp modSp add mod">
        <pc:chgData name="Zhan, Yao" userId="37b612df-86ed-4d30-8716-76c92ac1c591" providerId="ADAL" clId="{FE8EEA09-C911-1F4B-9BEC-FE7D846BF60C}" dt="2024-01-26T21:49:13.375" v="613" actId="1076"/>
        <pc:sldMkLst>
          <pc:docMk/>
          <pc:sldMk cId="3396917590" sldId="2147474038"/>
        </pc:sldMkLst>
        <pc:spChg chg="mod">
          <ac:chgData name="Zhan, Yao" userId="37b612df-86ed-4d30-8716-76c92ac1c591" providerId="ADAL" clId="{FE8EEA09-C911-1F4B-9BEC-FE7D846BF60C}" dt="2024-01-26T21:47:58.986" v="608" actId="20577"/>
          <ac:spMkLst>
            <pc:docMk/>
            <pc:sldMk cId="3396917590" sldId="2147474038"/>
            <ac:spMk id="6" creationId="{E25062A8-3F0B-2799-B991-71251969503E}"/>
          </ac:spMkLst>
        </pc:spChg>
        <pc:picChg chg="add mod">
          <ac:chgData name="Zhan, Yao" userId="37b612df-86ed-4d30-8716-76c92ac1c591" providerId="ADAL" clId="{FE8EEA09-C911-1F4B-9BEC-FE7D846BF60C}" dt="2024-01-26T21:49:13.375" v="613" actId="1076"/>
          <ac:picMkLst>
            <pc:docMk/>
            <pc:sldMk cId="3396917590" sldId="2147474038"/>
            <ac:picMk id="2" creationId="{51CFD8D8-EACD-EDA2-167D-C62B7061A6F1}"/>
          </ac:picMkLst>
        </pc:picChg>
        <pc:picChg chg="add mod">
          <ac:chgData name="Zhan, Yao" userId="37b612df-86ed-4d30-8716-76c92ac1c591" providerId="ADAL" clId="{FE8EEA09-C911-1F4B-9BEC-FE7D846BF60C}" dt="2024-01-26T21:48:09.605" v="610" actId="1076"/>
          <ac:picMkLst>
            <pc:docMk/>
            <pc:sldMk cId="3396917590" sldId="2147474038"/>
            <ac:picMk id="3" creationId="{65CECE2C-632F-4EFA-51DF-707E88A99EEB}"/>
          </ac:picMkLst>
        </pc:picChg>
        <pc:picChg chg="del">
          <ac:chgData name="Zhan, Yao" userId="37b612df-86ed-4d30-8716-76c92ac1c591" providerId="ADAL" clId="{FE8EEA09-C911-1F4B-9BEC-FE7D846BF60C}" dt="2024-01-26T21:45:25.902" v="524" actId="478"/>
          <ac:picMkLst>
            <pc:docMk/>
            <pc:sldMk cId="3396917590" sldId="2147474038"/>
            <ac:picMk id="4" creationId="{C59C53DD-2E52-1B0B-2D48-C40C25675388}"/>
          </ac:picMkLst>
        </pc:picChg>
        <pc:picChg chg="del">
          <ac:chgData name="Zhan, Yao" userId="37b612df-86ed-4d30-8716-76c92ac1c591" providerId="ADAL" clId="{FE8EEA09-C911-1F4B-9BEC-FE7D846BF60C}" dt="2024-01-26T21:45:45.290" v="529" actId="478"/>
          <ac:picMkLst>
            <pc:docMk/>
            <pc:sldMk cId="3396917590" sldId="2147474038"/>
            <ac:picMk id="8" creationId="{B918C8A6-1291-107E-6DEF-2F51E6DC79F9}"/>
          </ac:picMkLst>
        </pc:picChg>
        <pc:picChg chg="add del">
          <ac:chgData name="Zhan, Yao" userId="37b612df-86ed-4d30-8716-76c92ac1c591" providerId="ADAL" clId="{FE8EEA09-C911-1F4B-9BEC-FE7D846BF60C}" dt="2024-01-26T21:46:43.975" v="532" actId="478"/>
          <ac:picMkLst>
            <pc:docMk/>
            <pc:sldMk cId="3396917590" sldId="2147474038"/>
            <ac:picMk id="1026" creationId="{52FBCF4D-3942-4D32-2A23-C7F6A696ECCB}"/>
          </ac:picMkLst>
        </pc:picChg>
      </pc:sldChg>
      <pc:sldChg chg="addSp delSp modSp add mod">
        <pc:chgData name="Zhan, Yao" userId="37b612df-86ed-4d30-8716-76c92ac1c591" providerId="ADAL" clId="{FE8EEA09-C911-1F4B-9BEC-FE7D846BF60C}" dt="2024-01-26T22:12:24.212" v="811" actId="20577"/>
        <pc:sldMkLst>
          <pc:docMk/>
          <pc:sldMk cId="1884246265" sldId="2147474039"/>
        </pc:sldMkLst>
        <pc:spChg chg="mod">
          <ac:chgData name="Zhan, Yao" userId="37b612df-86ed-4d30-8716-76c92ac1c591" providerId="ADAL" clId="{FE8EEA09-C911-1F4B-9BEC-FE7D846BF60C}" dt="2024-01-26T22:12:24.212" v="811" actId="20577"/>
          <ac:spMkLst>
            <pc:docMk/>
            <pc:sldMk cId="1884246265" sldId="2147474039"/>
            <ac:spMk id="4" creationId="{2FCA1A98-DA77-54FF-1D9F-B009526359A4}"/>
          </ac:spMkLst>
        </pc:spChg>
        <pc:spChg chg="mod">
          <ac:chgData name="Zhan, Yao" userId="37b612df-86ed-4d30-8716-76c92ac1c591" providerId="ADAL" clId="{FE8EEA09-C911-1F4B-9BEC-FE7D846BF60C}" dt="2024-01-26T22:03:26.901" v="789" actId="20577"/>
          <ac:spMkLst>
            <pc:docMk/>
            <pc:sldMk cId="1884246265" sldId="2147474039"/>
            <ac:spMk id="8" creationId="{C40CA9DC-90B1-17A9-567F-5772408DB3B7}"/>
          </ac:spMkLst>
        </pc:spChg>
        <pc:picChg chg="add del mod">
          <ac:chgData name="Zhan, Yao" userId="37b612df-86ed-4d30-8716-76c92ac1c591" providerId="ADAL" clId="{FE8EEA09-C911-1F4B-9BEC-FE7D846BF60C}" dt="2024-01-26T22:01:55.361" v="677" actId="478"/>
          <ac:picMkLst>
            <pc:docMk/>
            <pc:sldMk cId="1884246265" sldId="2147474039"/>
            <ac:picMk id="2" creationId="{7CD3DC70-2F46-3AAF-B500-CFE941A44A25}"/>
          </ac:picMkLst>
        </pc:picChg>
        <pc:picChg chg="del">
          <ac:chgData name="Zhan, Yao" userId="37b612df-86ed-4d30-8716-76c92ac1c591" providerId="ADAL" clId="{FE8EEA09-C911-1F4B-9BEC-FE7D846BF60C}" dt="2024-01-26T21:59:06.376" v="614" actId="478"/>
          <ac:picMkLst>
            <pc:docMk/>
            <pc:sldMk cId="1884246265" sldId="2147474039"/>
            <ac:picMk id="7" creationId="{783736D8-73BE-B906-5200-FC6795E5A398}"/>
          </ac:picMkLst>
        </pc:picChg>
        <pc:picChg chg="add mod">
          <ac:chgData name="Zhan, Yao" userId="37b612df-86ed-4d30-8716-76c92ac1c591" providerId="ADAL" clId="{FE8EEA09-C911-1F4B-9BEC-FE7D846BF60C}" dt="2024-01-26T22:02:20.825" v="682" actId="1076"/>
          <ac:picMkLst>
            <pc:docMk/>
            <pc:sldMk cId="1884246265" sldId="2147474039"/>
            <ac:picMk id="9" creationId="{E4341AD7-F81C-AACB-B85C-109EB997BDC9}"/>
          </ac:picMkLst>
        </pc:picChg>
      </pc:sldChg>
      <pc:sldChg chg="add">
        <pc:chgData name="Zhan, Yao" userId="37b612df-86ed-4d30-8716-76c92ac1c591" providerId="ADAL" clId="{FE8EEA09-C911-1F4B-9BEC-FE7D846BF60C}" dt="2024-01-26T21:05:53.455" v="523"/>
        <pc:sldMkLst>
          <pc:docMk/>
          <pc:sldMk cId="2595594999" sldId="2147474040"/>
        </pc:sldMkLst>
      </pc:sldChg>
      <pc:sldChg chg="add">
        <pc:chgData name="Zhan, Yao" userId="37b612df-86ed-4d30-8716-76c92ac1c591" providerId="ADAL" clId="{FE8EEA09-C911-1F4B-9BEC-FE7D846BF60C}" dt="2024-01-26T21:05:53.455" v="523"/>
        <pc:sldMkLst>
          <pc:docMk/>
          <pc:sldMk cId="3437454793" sldId="2147474041"/>
        </pc:sldMkLst>
      </pc:sldChg>
    </pc:docChg>
  </pc:docChgLst>
  <pc:docChgLst>
    <pc:chgData name="Zhan, Yao" userId="S::yao.zhan@takeda.com::37b612df-86ed-4d30-8716-76c92ac1c591" providerId="AD" clId="Web-{8F24CD91-D1BE-661E-63D1-0BDFABCE6A20}"/>
    <pc:docChg chg="modSld">
      <pc:chgData name="Zhan, Yao" userId="S::yao.zhan@takeda.com::37b612df-86ed-4d30-8716-76c92ac1c591" providerId="AD" clId="Web-{8F24CD91-D1BE-661E-63D1-0BDFABCE6A20}" dt="2024-02-04T22:29:34.106" v="4" actId="1076"/>
      <pc:docMkLst>
        <pc:docMk/>
      </pc:docMkLst>
      <pc:sldChg chg="modSp">
        <pc:chgData name="Zhan, Yao" userId="S::yao.zhan@takeda.com::37b612df-86ed-4d30-8716-76c92ac1c591" providerId="AD" clId="Web-{8F24CD91-D1BE-661E-63D1-0BDFABCE6A20}" dt="2024-02-04T22:29:34.106" v="4" actId="1076"/>
        <pc:sldMkLst>
          <pc:docMk/>
          <pc:sldMk cId="3437454793" sldId="2147474041"/>
        </pc:sldMkLst>
        <pc:spChg chg="mod">
          <ac:chgData name="Zhan, Yao" userId="S::yao.zhan@takeda.com::37b612df-86ed-4d30-8716-76c92ac1c591" providerId="AD" clId="Web-{8F24CD91-D1BE-661E-63D1-0BDFABCE6A20}" dt="2024-02-04T22:29:34.106" v="4" actId="1076"/>
          <ac:spMkLst>
            <pc:docMk/>
            <pc:sldMk cId="3437454793" sldId="2147474041"/>
            <ac:spMk id="10" creationId="{7E0F0F36-4413-B41D-09D0-EC8D03C72CC8}"/>
          </ac:spMkLst>
        </pc:spChg>
      </pc:sldChg>
    </pc:docChg>
  </pc:docChgLst>
  <pc:docChgLst>
    <pc:chgData name="Zhan, Yao" userId="37b612df-86ed-4d30-8716-76c92ac1c591" providerId="ADAL" clId="{7DBA35A7-32D4-4B6E-872B-1912F92085DC}"/>
    <pc:docChg chg="undo custSel addSld delSld modSld modSection">
      <pc:chgData name="Zhan, Yao" userId="37b612df-86ed-4d30-8716-76c92ac1c591" providerId="ADAL" clId="{7DBA35A7-32D4-4B6E-872B-1912F92085DC}" dt="2023-12-14T21:59:09.105" v="939" actId="20577"/>
      <pc:docMkLst>
        <pc:docMk/>
      </pc:docMkLst>
      <pc:sldChg chg="modSp mod">
        <pc:chgData name="Zhan, Yao" userId="37b612df-86ed-4d30-8716-76c92ac1c591" providerId="ADAL" clId="{7DBA35A7-32D4-4B6E-872B-1912F92085DC}" dt="2023-12-14T17:57:22.088" v="85" actId="20577"/>
        <pc:sldMkLst>
          <pc:docMk/>
          <pc:sldMk cId="3502702874" sldId="2145707097"/>
        </pc:sldMkLst>
        <pc:spChg chg="mod">
          <ac:chgData name="Zhan, Yao" userId="37b612df-86ed-4d30-8716-76c92ac1c591" providerId="ADAL" clId="{7DBA35A7-32D4-4B6E-872B-1912F92085DC}" dt="2023-12-14T17:56:38.569" v="46" actId="20577"/>
          <ac:spMkLst>
            <pc:docMk/>
            <pc:sldMk cId="3502702874" sldId="2145707097"/>
            <ac:spMk id="10" creationId="{2CC635BF-1157-07B8-6E92-D592E0F77229}"/>
          </ac:spMkLst>
        </pc:spChg>
        <pc:spChg chg="mod">
          <ac:chgData name="Zhan, Yao" userId="37b612df-86ed-4d30-8716-76c92ac1c591" providerId="ADAL" clId="{7DBA35A7-32D4-4B6E-872B-1912F92085DC}" dt="2023-12-14T17:57:17.335" v="82" actId="20577"/>
          <ac:spMkLst>
            <pc:docMk/>
            <pc:sldMk cId="3502702874" sldId="2145707097"/>
            <ac:spMk id="14" creationId="{9E7624AB-DFD1-EDE3-567E-687EAB7DA72B}"/>
          </ac:spMkLst>
        </pc:spChg>
        <pc:spChg chg="mod">
          <ac:chgData name="Zhan, Yao" userId="37b612df-86ed-4d30-8716-76c92ac1c591" providerId="ADAL" clId="{7DBA35A7-32D4-4B6E-872B-1912F92085DC}" dt="2023-12-14T17:57:22.088" v="85" actId="20577"/>
          <ac:spMkLst>
            <pc:docMk/>
            <pc:sldMk cId="3502702874" sldId="2145707097"/>
            <ac:spMk id="16" creationId="{13C8D921-EF35-085D-8E07-8E91676B3472}"/>
          </ac:spMkLst>
        </pc:spChg>
        <pc:spChg chg="mod">
          <ac:chgData name="Zhan, Yao" userId="37b612df-86ed-4d30-8716-76c92ac1c591" providerId="ADAL" clId="{7DBA35A7-32D4-4B6E-872B-1912F92085DC}" dt="2023-12-14T17:57:06.486" v="55" actId="14100"/>
          <ac:spMkLst>
            <pc:docMk/>
            <pc:sldMk cId="3502702874" sldId="2145707097"/>
            <ac:spMk id="18" creationId="{7FDB0E95-3F03-80CB-71CC-3E62DB392DD0}"/>
          </ac:spMkLst>
        </pc:spChg>
      </pc:sldChg>
      <pc:sldChg chg="new del">
        <pc:chgData name="Zhan, Yao" userId="37b612df-86ed-4d30-8716-76c92ac1c591" providerId="ADAL" clId="{7DBA35A7-32D4-4B6E-872B-1912F92085DC}" dt="2023-12-14T17:58:19.607" v="88" actId="47"/>
        <pc:sldMkLst>
          <pc:docMk/>
          <pc:sldMk cId="1982370098" sldId="2147474020"/>
        </pc:sldMkLst>
      </pc:sldChg>
      <pc:sldChg chg="addSp delSp modSp new mod">
        <pc:chgData name="Zhan, Yao" userId="37b612df-86ed-4d30-8716-76c92ac1c591" providerId="ADAL" clId="{7DBA35A7-32D4-4B6E-872B-1912F92085DC}" dt="2023-12-14T18:04:54.350" v="233" actId="20577"/>
        <pc:sldMkLst>
          <pc:docMk/>
          <pc:sldMk cId="4089918224" sldId="2147474021"/>
        </pc:sldMkLst>
        <pc:spChg chg="del">
          <ac:chgData name="Zhan, Yao" userId="37b612df-86ed-4d30-8716-76c92ac1c591" providerId="ADAL" clId="{7DBA35A7-32D4-4B6E-872B-1912F92085DC}" dt="2023-12-14T17:58:22.329" v="89" actId="478"/>
          <ac:spMkLst>
            <pc:docMk/>
            <pc:sldMk cId="4089918224" sldId="2147474021"/>
            <ac:spMk id="2" creationId="{65AF9C44-C729-AC25-EC3A-CAC3B098ABEB}"/>
          </ac:spMkLst>
        </pc:spChg>
        <pc:spChg chg="mod">
          <ac:chgData name="Zhan, Yao" userId="37b612df-86ed-4d30-8716-76c92ac1c591" providerId="ADAL" clId="{7DBA35A7-32D4-4B6E-872B-1912F92085DC}" dt="2023-12-14T18:04:54.350" v="233" actId="20577"/>
          <ac:spMkLst>
            <pc:docMk/>
            <pc:sldMk cId="4089918224" sldId="2147474021"/>
            <ac:spMk id="4" creationId="{4E6C8B72-1A55-DE3C-A22A-DAC91E937A96}"/>
          </ac:spMkLst>
        </pc:spChg>
        <pc:spChg chg="add del">
          <ac:chgData name="Zhan, Yao" userId="37b612df-86ed-4d30-8716-76c92ac1c591" providerId="ADAL" clId="{7DBA35A7-32D4-4B6E-872B-1912F92085DC}" dt="2023-12-14T17:58:26.264" v="92" actId="22"/>
          <ac:spMkLst>
            <pc:docMk/>
            <pc:sldMk cId="4089918224" sldId="2147474021"/>
            <ac:spMk id="8" creationId="{2A30D4AD-4ED0-DC3D-F12F-C94BB6CDCAE9}"/>
          </ac:spMkLst>
        </pc:spChg>
        <pc:spChg chg="add del">
          <ac:chgData name="Zhan, Yao" userId="37b612df-86ed-4d30-8716-76c92ac1c591" providerId="ADAL" clId="{7DBA35A7-32D4-4B6E-872B-1912F92085DC}" dt="2023-12-14T17:58:45.345" v="94"/>
          <ac:spMkLst>
            <pc:docMk/>
            <pc:sldMk cId="4089918224" sldId="2147474021"/>
            <ac:spMk id="9" creationId="{72214F66-388A-D7F6-FD8C-63A2D7A1FD45}"/>
          </ac:spMkLst>
        </pc:spChg>
        <pc:graphicFrameChg chg="add mod modGraphic">
          <ac:chgData name="Zhan, Yao" userId="37b612df-86ed-4d30-8716-76c92ac1c591" providerId="ADAL" clId="{7DBA35A7-32D4-4B6E-872B-1912F92085DC}" dt="2023-12-14T18:03:42.838" v="150" actId="1076"/>
          <ac:graphicFrameMkLst>
            <pc:docMk/>
            <pc:sldMk cId="4089918224" sldId="2147474021"/>
            <ac:graphicFrameMk id="10" creationId="{3F5E5AE5-52F7-9875-0BD8-23695CEDAAFE}"/>
          </ac:graphicFrameMkLst>
        </pc:graphicFrameChg>
      </pc:sldChg>
      <pc:sldChg chg="addSp delSp modSp new mod">
        <pc:chgData name="Zhan, Yao" userId="37b612df-86ed-4d30-8716-76c92ac1c591" providerId="ADAL" clId="{7DBA35A7-32D4-4B6E-872B-1912F92085DC}" dt="2023-12-14T21:20:08.921" v="561" actId="20577"/>
        <pc:sldMkLst>
          <pc:docMk/>
          <pc:sldMk cId="367573957" sldId="2147474022"/>
        </pc:sldMkLst>
        <pc:spChg chg="del">
          <ac:chgData name="Zhan, Yao" userId="37b612df-86ed-4d30-8716-76c92ac1c591" providerId="ADAL" clId="{7DBA35A7-32D4-4B6E-872B-1912F92085DC}" dt="2023-12-14T18:05:00.833" v="235" actId="478"/>
          <ac:spMkLst>
            <pc:docMk/>
            <pc:sldMk cId="367573957" sldId="2147474022"/>
            <ac:spMk id="2" creationId="{7038BB3C-E54F-9806-25D0-BD87F760EEBB}"/>
          </ac:spMkLst>
        </pc:spChg>
        <pc:spChg chg="mod">
          <ac:chgData name="Zhan, Yao" userId="37b612df-86ed-4d30-8716-76c92ac1c591" providerId="ADAL" clId="{7DBA35A7-32D4-4B6E-872B-1912F92085DC}" dt="2023-12-14T21:20:08.921" v="561" actId="20577"/>
          <ac:spMkLst>
            <pc:docMk/>
            <pc:sldMk cId="367573957" sldId="2147474022"/>
            <ac:spMk id="4" creationId="{3A68D9EE-4E47-D027-C680-F06F1739DCA3}"/>
          </ac:spMkLst>
        </pc:spChg>
        <pc:picChg chg="add del mod">
          <ac:chgData name="Zhan, Yao" userId="37b612df-86ed-4d30-8716-76c92ac1c591" providerId="ADAL" clId="{7DBA35A7-32D4-4B6E-872B-1912F92085DC}" dt="2023-12-14T20:21:19.580" v="531" actId="478"/>
          <ac:picMkLst>
            <pc:docMk/>
            <pc:sldMk cId="367573957" sldId="2147474022"/>
            <ac:picMk id="7" creationId="{C291FBCD-B75F-510E-3944-D7C02D3E6272}"/>
          </ac:picMkLst>
        </pc:picChg>
        <pc:picChg chg="add del">
          <ac:chgData name="Zhan, Yao" userId="37b612df-86ed-4d30-8716-76c92ac1c591" providerId="ADAL" clId="{7DBA35A7-32D4-4B6E-872B-1912F92085DC}" dt="2023-12-14T21:06:06.401" v="533" actId="478"/>
          <ac:picMkLst>
            <pc:docMk/>
            <pc:sldMk cId="367573957" sldId="2147474022"/>
            <ac:picMk id="8" creationId="{F3C2C14B-C2DB-7CA7-EFDE-79C2A3EBCF98}"/>
          </ac:picMkLst>
        </pc:picChg>
        <pc:picChg chg="add">
          <ac:chgData name="Zhan, Yao" userId="37b612df-86ed-4d30-8716-76c92ac1c591" providerId="ADAL" clId="{7DBA35A7-32D4-4B6E-872B-1912F92085DC}" dt="2023-12-14T21:06:09.280" v="534"/>
          <ac:picMkLst>
            <pc:docMk/>
            <pc:sldMk cId="367573957" sldId="2147474022"/>
            <ac:picMk id="9" creationId="{865273DF-6A7C-743A-E142-6AB770FC0650}"/>
          </ac:picMkLst>
        </pc:picChg>
      </pc:sldChg>
      <pc:sldChg chg="addSp delSp modSp new mod">
        <pc:chgData name="Zhan, Yao" userId="37b612df-86ed-4d30-8716-76c92ac1c591" providerId="ADAL" clId="{7DBA35A7-32D4-4B6E-872B-1912F92085DC}" dt="2023-12-14T21:36:38.785" v="836" actId="1035"/>
        <pc:sldMkLst>
          <pc:docMk/>
          <pc:sldMk cId="3334079825" sldId="2147474023"/>
        </pc:sldMkLst>
        <pc:spChg chg="del">
          <ac:chgData name="Zhan, Yao" userId="37b612df-86ed-4d30-8716-76c92ac1c591" providerId="ADAL" clId="{7DBA35A7-32D4-4B6E-872B-1912F92085DC}" dt="2023-12-14T19:18:24.859" v="530" actId="478"/>
          <ac:spMkLst>
            <pc:docMk/>
            <pc:sldMk cId="3334079825" sldId="2147474023"/>
            <ac:spMk id="2" creationId="{323F39DB-E7D4-91B8-21F4-F8187A859933}"/>
          </ac:spMkLst>
        </pc:spChg>
        <pc:spChg chg="mod">
          <ac:chgData name="Zhan, Yao" userId="37b612df-86ed-4d30-8716-76c92ac1c591" providerId="ADAL" clId="{7DBA35A7-32D4-4B6E-872B-1912F92085DC}" dt="2023-12-14T21:36:12.940" v="817" actId="27636"/>
          <ac:spMkLst>
            <pc:docMk/>
            <pc:sldMk cId="3334079825" sldId="2147474023"/>
            <ac:spMk id="4" creationId="{13801A84-46E2-FC24-E1D3-80899D85EFA3}"/>
          </ac:spMkLst>
        </pc:spChg>
        <pc:picChg chg="add del mod">
          <ac:chgData name="Zhan, Yao" userId="37b612df-86ed-4d30-8716-76c92ac1c591" providerId="ADAL" clId="{7DBA35A7-32D4-4B6E-872B-1912F92085DC}" dt="2023-12-14T21:15:02.727" v="537" actId="478"/>
          <ac:picMkLst>
            <pc:docMk/>
            <pc:sldMk cId="3334079825" sldId="2147474023"/>
            <ac:picMk id="7" creationId="{2C687DA1-288B-75DC-817F-B3F3E56795C6}"/>
          </ac:picMkLst>
        </pc:picChg>
        <pc:picChg chg="add del mod">
          <ac:chgData name="Zhan, Yao" userId="37b612df-86ed-4d30-8716-76c92ac1c591" providerId="ADAL" clId="{7DBA35A7-32D4-4B6E-872B-1912F92085DC}" dt="2023-12-14T21:19:34.495" v="552" actId="478"/>
          <ac:picMkLst>
            <pc:docMk/>
            <pc:sldMk cId="3334079825" sldId="2147474023"/>
            <ac:picMk id="8" creationId="{F0F18B01-9F50-5B9D-64BE-61BB524D7C75}"/>
          </ac:picMkLst>
        </pc:picChg>
        <pc:picChg chg="add del mod">
          <ac:chgData name="Zhan, Yao" userId="37b612df-86ed-4d30-8716-76c92ac1c591" providerId="ADAL" clId="{7DBA35A7-32D4-4B6E-872B-1912F92085DC}" dt="2023-12-14T21:19:06.480" v="548" actId="478"/>
          <ac:picMkLst>
            <pc:docMk/>
            <pc:sldMk cId="3334079825" sldId="2147474023"/>
            <ac:picMk id="9" creationId="{14F3B2B5-F692-D7DE-0B5D-7FDA462EFD67}"/>
          </ac:picMkLst>
        </pc:picChg>
        <pc:picChg chg="add mod">
          <ac:chgData name="Zhan, Yao" userId="37b612df-86ed-4d30-8716-76c92ac1c591" providerId="ADAL" clId="{7DBA35A7-32D4-4B6E-872B-1912F92085DC}" dt="2023-12-14T21:36:38.785" v="836" actId="1035"/>
          <ac:picMkLst>
            <pc:docMk/>
            <pc:sldMk cId="3334079825" sldId="2147474023"/>
            <ac:picMk id="10" creationId="{C3A4893C-02CE-7FDC-3A63-5AF076203127}"/>
          </ac:picMkLst>
        </pc:picChg>
        <pc:picChg chg="add mod">
          <ac:chgData name="Zhan, Yao" userId="37b612df-86ed-4d30-8716-76c92ac1c591" providerId="ADAL" clId="{7DBA35A7-32D4-4B6E-872B-1912F92085DC}" dt="2023-12-14T21:36:28.749" v="822" actId="1076"/>
          <ac:picMkLst>
            <pc:docMk/>
            <pc:sldMk cId="3334079825" sldId="2147474023"/>
            <ac:picMk id="11" creationId="{F5C2D180-279C-BA83-E1EF-3992650B725E}"/>
          </ac:picMkLst>
        </pc:picChg>
        <pc:picChg chg="add mod ord">
          <ac:chgData name="Zhan, Yao" userId="37b612df-86ed-4d30-8716-76c92ac1c591" providerId="ADAL" clId="{7DBA35A7-32D4-4B6E-872B-1912F92085DC}" dt="2023-12-14T21:33:40.925" v="589" actId="1076"/>
          <ac:picMkLst>
            <pc:docMk/>
            <pc:sldMk cId="3334079825" sldId="2147474023"/>
            <ac:picMk id="12" creationId="{9314FD59-275A-6157-5E4B-F13CDFE0FFE4}"/>
          </ac:picMkLst>
        </pc:picChg>
      </pc:sldChg>
      <pc:sldChg chg="addSp delSp modSp new mod">
        <pc:chgData name="Zhan, Yao" userId="37b612df-86ed-4d30-8716-76c92ac1c591" providerId="ADAL" clId="{7DBA35A7-32D4-4B6E-872B-1912F92085DC}" dt="2023-12-14T21:59:09.105" v="939" actId="20577"/>
        <pc:sldMkLst>
          <pc:docMk/>
          <pc:sldMk cId="1343070702" sldId="2147474024"/>
        </pc:sldMkLst>
        <pc:spChg chg="del">
          <ac:chgData name="Zhan, Yao" userId="37b612df-86ed-4d30-8716-76c92ac1c591" providerId="ADAL" clId="{7DBA35A7-32D4-4B6E-872B-1912F92085DC}" dt="2023-12-14T21:58:17.351" v="838" actId="478"/>
          <ac:spMkLst>
            <pc:docMk/>
            <pc:sldMk cId="1343070702" sldId="2147474024"/>
            <ac:spMk id="2" creationId="{8C9111A9-2279-ED3B-3A0A-F1DC4D04E3E3}"/>
          </ac:spMkLst>
        </pc:spChg>
        <pc:spChg chg="mod">
          <ac:chgData name="Zhan, Yao" userId="37b612df-86ed-4d30-8716-76c92ac1c591" providerId="ADAL" clId="{7DBA35A7-32D4-4B6E-872B-1912F92085DC}" dt="2023-12-14T21:59:09.105" v="939" actId="20577"/>
          <ac:spMkLst>
            <pc:docMk/>
            <pc:sldMk cId="1343070702" sldId="2147474024"/>
            <ac:spMk id="4" creationId="{5D7E6D62-5405-7163-734B-D907DE4D197C}"/>
          </ac:spMkLst>
        </pc:spChg>
        <pc:picChg chg="add mod">
          <ac:chgData name="Zhan, Yao" userId="37b612df-86ed-4d30-8716-76c92ac1c591" providerId="ADAL" clId="{7DBA35A7-32D4-4B6E-872B-1912F92085DC}" dt="2023-12-14T21:58:27.345" v="842" actId="1076"/>
          <ac:picMkLst>
            <pc:docMk/>
            <pc:sldMk cId="1343070702" sldId="2147474024"/>
            <ac:picMk id="7" creationId="{DF8DBF49-0F18-2132-24A5-1737025CF4C2}"/>
          </ac:picMkLst>
        </pc:picChg>
      </pc:sldChg>
    </pc:docChg>
  </pc:docChgLst>
  <pc:docChgLst>
    <pc:chgData name="Zhan, Yao" userId="S::yao.zhan@takeda.com::37b612df-86ed-4d30-8716-76c92ac1c591" providerId="AD" clId="Web-{EB276FF2-19D6-75FF-9AD2-9C475DA0E885}"/>
    <pc:docChg chg="addSld delSld modSld modSection">
      <pc:chgData name="Zhan, Yao" userId="S::yao.zhan@takeda.com::37b612df-86ed-4d30-8716-76c92ac1c591" providerId="AD" clId="Web-{EB276FF2-19D6-75FF-9AD2-9C475DA0E885}" dt="2024-01-15T02:14:57.227" v="2"/>
      <pc:docMkLst>
        <pc:docMk/>
      </pc:docMkLst>
      <pc:sldChg chg="delSp add del">
        <pc:chgData name="Zhan, Yao" userId="S::yao.zhan@takeda.com::37b612df-86ed-4d30-8716-76c92ac1c591" providerId="AD" clId="Web-{EB276FF2-19D6-75FF-9AD2-9C475DA0E885}" dt="2024-01-15T02:14:57.227" v="2"/>
        <pc:sldMkLst>
          <pc:docMk/>
          <pc:sldMk cId="1343070702" sldId="2147474024"/>
        </pc:sldMkLst>
        <pc:picChg chg="del">
          <ac:chgData name="Zhan, Yao" userId="S::yao.zhan@takeda.com::37b612df-86ed-4d30-8716-76c92ac1c591" providerId="AD" clId="Web-{EB276FF2-19D6-75FF-9AD2-9C475DA0E885}" dt="2024-01-15T02:14:57.227" v="2"/>
          <ac:picMkLst>
            <pc:docMk/>
            <pc:sldMk cId="1343070702" sldId="2147474024"/>
            <ac:picMk id="7" creationId="{DF8DBF49-0F18-2132-24A5-1737025CF4C2}"/>
          </ac:picMkLst>
        </pc:picChg>
      </pc:sldChg>
    </pc:docChg>
  </pc:docChgLst>
  <pc:docChgLst>
    <pc:chgData name="Zhan, Yao" userId="S::yao.zhan@takeda.com::37b612df-86ed-4d30-8716-76c92ac1c591" providerId="AD" clId="Web-{79E5B74B-41E2-4036-8322-F6B7EBC589A1}"/>
    <pc:docChg chg="addSld modSld modSection">
      <pc:chgData name="Zhan, Yao" userId="S::yao.zhan@takeda.com::37b612df-86ed-4d30-8716-76c92ac1c591" providerId="AD" clId="Web-{79E5B74B-41E2-4036-8322-F6B7EBC589A1}" dt="2024-02-07T05:14:20.109" v="183"/>
      <pc:docMkLst>
        <pc:docMk/>
      </pc:docMkLst>
      <pc:sldChg chg="mod modShow">
        <pc:chgData name="Zhan, Yao" userId="S::yao.zhan@takeda.com::37b612df-86ed-4d30-8716-76c92ac1c591" providerId="AD" clId="Web-{79E5B74B-41E2-4036-8322-F6B7EBC589A1}" dt="2024-02-07T03:14:07.401" v="57"/>
        <pc:sldMkLst>
          <pc:docMk/>
          <pc:sldMk cId="838055334" sldId="2147474036"/>
        </pc:sldMkLst>
      </pc:sldChg>
      <pc:sldChg chg="mod modShow">
        <pc:chgData name="Zhan, Yao" userId="S::yao.zhan@takeda.com::37b612df-86ed-4d30-8716-76c92ac1c591" providerId="AD" clId="Web-{79E5B74B-41E2-4036-8322-F6B7EBC589A1}" dt="2024-02-07T03:50:25.072" v="68"/>
        <pc:sldMkLst>
          <pc:docMk/>
          <pc:sldMk cId="1975933226" sldId="2147474037"/>
        </pc:sldMkLst>
      </pc:sldChg>
      <pc:sldChg chg="addSp delSp modSp addAnim">
        <pc:chgData name="Zhan, Yao" userId="S::yao.zhan@takeda.com::37b612df-86ed-4d30-8716-76c92ac1c591" providerId="AD" clId="Web-{79E5B74B-41E2-4036-8322-F6B7EBC589A1}" dt="2024-02-07T05:14:20.109" v="183"/>
        <pc:sldMkLst>
          <pc:docMk/>
          <pc:sldMk cId="3396917590" sldId="2147474038"/>
        </pc:sldMkLst>
        <pc:spChg chg="add mod">
          <ac:chgData name="Zhan, Yao" userId="S::yao.zhan@takeda.com::37b612df-86ed-4d30-8716-76c92ac1c591" providerId="AD" clId="Web-{79E5B74B-41E2-4036-8322-F6B7EBC589A1}" dt="2024-02-07T05:07:52.652" v="148" actId="1076"/>
          <ac:spMkLst>
            <pc:docMk/>
            <pc:sldMk cId="3396917590" sldId="2147474038"/>
            <ac:spMk id="9" creationId="{AC2EED57-8848-7427-234B-40FC4A490DB7}"/>
          </ac:spMkLst>
        </pc:spChg>
        <pc:spChg chg="add mod">
          <ac:chgData name="Zhan, Yao" userId="S::yao.zhan@takeda.com::37b612df-86ed-4d30-8716-76c92ac1c591" providerId="AD" clId="Web-{79E5B74B-41E2-4036-8322-F6B7EBC589A1}" dt="2024-02-07T05:07:52.652" v="149" actId="1076"/>
          <ac:spMkLst>
            <pc:docMk/>
            <pc:sldMk cId="3396917590" sldId="2147474038"/>
            <ac:spMk id="10" creationId="{8780FE11-BE06-A784-FE9E-7E36978D60D1}"/>
          </ac:spMkLst>
        </pc:spChg>
        <pc:picChg chg="del">
          <ac:chgData name="Zhan, Yao" userId="S::yao.zhan@takeda.com::37b612df-86ed-4d30-8716-76c92ac1c591" providerId="AD" clId="Web-{79E5B74B-41E2-4036-8322-F6B7EBC589A1}" dt="2024-02-07T04:45:14.727" v="121"/>
          <ac:picMkLst>
            <pc:docMk/>
            <pc:sldMk cId="3396917590" sldId="2147474038"/>
            <ac:picMk id="2" creationId="{51CFD8D8-EACD-EDA2-167D-C62B7061A6F1}"/>
          </ac:picMkLst>
        </pc:picChg>
        <pc:picChg chg="add del mod">
          <ac:chgData name="Zhan, Yao" userId="S::yao.zhan@takeda.com::37b612df-86ed-4d30-8716-76c92ac1c591" providerId="AD" clId="Web-{79E5B74B-41E2-4036-8322-F6B7EBC589A1}" dt="2024-02-07T05:06:34.647" v="128"/>
          <ac:picMkLst>
            <pc:docMk/>
            <pc:sldMk cId="3396917590" sldId="2147474038"/>
            <ac:picMk id="2" creationId="{583A1AB2-2DF4-2830-9572-C92267747638}"/>
          </ac:picMkLst>
        </pc:picChg>
        <pc:picChg chg="del">
          <ac:chgData name="Zhan, Yao" userId="S::yao.zhan@takeda.com::37b612df-86ed-4d30-8716-76c92ac1c591" providerId="AD" clId="Web-{79E5B74B-41E2-4036-8322-F6B7EBC589A1}" dt="2024-02-07T04:21:22.765" v="80"/>
          <ac:picMkLst>
            <pc:docMk/>
            <pc:sldMk cId="3396917590" sldId="2147474038"/>
            <ac:picMk id="3" creationId="{65CECE2C-632F-4EFA-51DF-707E88A99EEB}"/>
          </ac:picMkLst>
        </pc:picChg>
        <pc:picChg chg="add mod">
          <ac:chgData name="Zhan, Yao" userId="S::yao.zhan@takeda.com::37b612df-86ed-4d30-8716-76c92ac1c591" providerId="AD" clId="Web-{79E5B74B-41E2-4036-8322-F6B7EBC589A1}" dt="2024-02-07T05:07:42.339" v="145" actId="1076"/>
          <ac:picMkLst>
            <pc:docMk/>
            <pc:sldMk cId="3396917590" sldId="2147474038"/>
            <ac:picMk id="3" creationId="{802A21A0-A8AF-8737-2539-8D3B271F8210}"/>
          </ac:picMkLst>
        </pc:picChg>
        <pc:picChg chg="add del mod modCrop">
          <ac:chgData name="Zhan, Yao" userId="S::yao.zhan@takeda.com::37b612df-86ed-4d30-8716-76c92ac1c591" providerId="AD" clId="Web-{79E5B74B-41E2-4036-8322-F6B7EBC589A1}" dt="2024-02-07T04:33:20.575" v="98"/>
          <ac:picMkLst>
            <pc:docMk/>
            <pc:sldMk cId="3396917590" sldId="2147474038"/>
            <ac:picMk id="4" creationId="{5516863F-D3AD-8C94-C613-64B8DC8A6CF6}"/>
          </ac:picMkLst>
        </pc:picChg>
        <pc:picChg chg="add mod">
          <ac:chgData name="Zhan, Yao" userId="S::yao.zhan@takeda.com::37b612df-86ed-4d30-8716-76c92ac1c591" providerId="AD" clId="Web-{79E5B74B-41E2-4036-8322-F6B7EBC589A1}" dt="2024-02-07T05:07:52.636" v="146" actId="1076"/>
          <ac:picMkLst>
            <pc:docMk/>
            <pc:sldMk cId="3396917590" sldId="2147474038"/>
            <ac:picMk id="5" creationId="{710303CE-F2A6-0DE7-5820-BD3E6CE516EC}"/>
          </ac:picMkLst>
        </pc:picChg>
        <pc:picChg chg="add mod">
          <ac:chgData name="Zhan, Yao" userId="S::yao.zhan@takeda.com::37b612df-86ed-4d30-8716-76c92ac1c591" providerId="AD" clId="Web-{79E5B74B-41E2-4036-8322-F6B7EBC589A1}" dt="2024-02-07T05:07:52.636" v="147" actId="1076"/>
          <ac:picMkLst>
            <pc:docMk/>
            <pc:sldMk cId="3396917590" sldId="2147474038"/>
            <ac:picMk id="8" creationId="{E8A6EF08-60D5-FA83-2C31-D84BBB0DCA58}"/>
          </ac:picMkLst>
        </pc:picChg>
      </pc:sldChg>
      <pc:sldChg chg="addSp delSp modSp new addAnim delAnim modAnim">
        <pc:chgData name="Zhan, Yao" userId="S::yao.zhan@takeda.com::37b612df-86ed-4d30-8716-76c92ac1c591" providerId="AD" clId="Web-{79E5B74B-41E2-4036-8322-F6B7EBC589A1}" dt="2024-02-07T05:11:23.067" v="161"/>
        <pc:sldMkLst>
          <pc:docMk/>
          <pc:sldMk cId="978004667" sldId="2147474051"/>
        </pc:sldMkLst>
        <pc:spChg chg="del">
          <ac:chgData name="Zhan, Yao" userId="S::yao.zhan@takeda.com::37b612df-86ed-4d30-8716-76c92ac1c591" providerId="AD" clId="Web-{79E5B74B-41E2-4036-8322-F6B7EBC589A1}" dt="2024-02-07T03:07:24.291" v="1"/>
          <ac:spMkLst>
            <pc:docMk/>
            <pc:sldMk cId="978004667" sldId="2147474051"/>
            <ac:spMk id="2" creationId="{E5E4D481-7FCF-446E-34E1-9CCE36E5FAAE}"/>
          </ac:spMkLst>
        </pc:spChg>
        <pc:picChg chg="add mod">
          <ac:chgData name="Zhan, Yao" userId="S::yao.zhan@takeda.com::37b612df-86ed-4d30-8716-76c92ac1c591" providerId="AD" clId="Web-{79E5B74B-41E2-4036-8322-F6B7EBC589A1}" dt="2024-02-07T05:09:48.385" v="153" actId="14100"/>
          <ac:picMkLst>
            <pc:docMk/>
            <pc:sldMk cId="978004667" sldId="2147474051"/>
            <ac:picMk id="2" creationId="{3C5051E3-7052-AE84-61B4-8A9FEF6A7830}"/>
          </ac:picMkLst>
        </pc:picChg>
        <pc:picChg chg="add mod modCrop">
          <ac:chgData name="Zhan, Yao" userId="S::yao.zhan@takeda.com::37b612df-86ed-4d30-8716-76c92ac1c591" providerId="AD" clId="Web-{79E5B74B-41E2-4036-8322-F6B7EBC589A1}" dt="2024-02-07T05:10:12.043" v="156" actId="1076"/>
          <ac:picMkLst>
            <pc:docMk/>
            <pc:sldMk cId="978004667" sldId="2147474051"/>
            <ac:picMk id="7" creationId="{E532CD4B-5C89-1260-2471-C6F8A31BE100}"/>
          </ac:picMkLst>
        </pc:picChg>
        <pc:picChg chg="add mod">
          <ac:chgData name="Zhan, Yao" userId="S::yao.zhan@takeda.com::37b612df-86ed-4d30-8716-76c92ac1c591" providerId="AD" clId="Web-{79E5B74B-41E2-4036-8322-F6B7EBC589A1}" dt="2024-02-07T05:09:40.869" v="151" actId="1076"/>
          <ac:picMkLst>
            <pc:docMk/>
            <pc:sldMk cId="978004667" sldId="2147474051"/>
            <ac:picMk id="9" creationId="{99BCEB2B-0572-99F9-E812-FA0E8EE23BDC}"/>
          </ac:picMkLst>
        </pc:picChg>
      </pc:sldChg>
      <pc:sldChg chg="addSp delSp modSp new addAnim modAnim">
        <pc:chgData name="Zhan, Yao" userId="S::yao.zhan@takeda.com::37b612df-86ed-4d30-8716-76c92ac1c591" providerId="AD" clId="Web-{79E5B74B-41E2-4036-8322-F6B7EBC589A1}" dt="2024-02-07T05:13:35.435" v="173"/>
        <pc:sldMkLst>
          <pc:docMk/>
          <pc:sldMk cId="3822735020" sldId="2147474052"/>
        </pc:sldMkLst>
        <pc:spChg chg="del">
          <ac:chgData name="Zhan, Yao" userId="S::yao.zhan@takeda.com::37b612df-86ed-4d30-8716-76c92ac1c591" providerId="AD" clId="Web-{79E5B74B-41E2-4036-8322-F6B7EBC589A1}" dt="2024-02-07T03:07:59.323" v="6"/>
          <ac:spMkLst>
            <pc:docMk/>
            <pc:sldMk cId="3822735020" sldId="2147474052"/>
            <ac:spMk id="2" creationId="{702C674C-9569-9E44-5922-61F2BCF4EDFA}"/>
          </ac:spMkLst>
        </pc:spChg>
        <pc:spChg chg="add mod">
          <ac:chgData name="Zhan, Yao" userId="S::yao.zhan@takeda.com::37b612df-86ed-4d30-8716-76c92ac1c591" providerId="AD" clId="Web-{79E5B74B-41E2-4036-8322-F6B7EBC589A1}" dt="2024-02-07T05:12:11.976" v="164" actId="1076"/>
          <ac:spMkLst>
            <pc:docMk/>
            <pc:sldMk cId="3822735020" sldId="2147474052"/>
            <ac:spMk id="2" creationId="{86E63499-4BA1-E5A1-36F7-710B16A457BD}"/>
          </ac:spMkLst>
        </pc:spChg>
        <pc:spChg chg="add mod">
          <ac:chgData name="Zhan, Yao" userId="S::yao.zhan@takeda.com::37b612df-86ed-4d30-8716-76c92ac1c591" providerId="AD" clId="Web-{79E5B74B-41E2-4036-8322-F6B7EBC589A1}" dt="2024-02-07T05:12:24.274" v="166" actId="1076"/>
          <ac:spMkLst>
            <pc:docMk/>
            <pc:sldMk cId="3822735020" sldId="2147474052"/>
            <ac:spMk id="4" creationId="{50C17455-6F3D-F6DA-8474-C8C6C032A2A9}"/>
          </ac:spMkLst>
        </pc:spChg>
        <pc:spChg chg="add mod">
          <ac:chgData name="Zhan, Yao" userId="S::yao.zhan@takeda.com::37b612df-86ed-4d30-8716-76c92ac1c591" providerId="AD" clId="Web-{79E5B74B-41E2-4036-8322-F6B7EBC589A1}" dt="2024-02-07T05:12:38.041" v="168" actId="1076"/>
          <ac:spMkLst>
            <pc:docMk/>
            <pc:sldMk cId="3822735020" sldId="2147474052"/>
            <ac:spMk id="5" creationId="{0D9C7FDD-5CDB-499F-EEA5-D89EAAC6456C}"/>
          </ac:spMkLst>
        </pc:spChg>
        <pc:spChg chg="add mod">
          <ac:chgData name="Zhan, Yao" userId="S::yao.zhan@takeda.com::37b612df-86ed-4d30-8716-76c92ac1c591" providerId="AD" clId="Web-{79E5B74B-41E2-4036-8322-F6B7EBC589A1}" dt="2024-02-07T03:13:25.477" v="56" actId="1076"/>
          <ac:spMkLst>
            <pc:docMk/>
            <pc:sldMk cId="3822735020" sldId="2147474052"/>
            <ac:spMk id="8" creationId="{F40AC0E5-D104-CED5-A144-4DCB9A08CEF0}"/>
          </ac:spMkLst>
        </pc:spChg>
        <pc:spChg chg="add">
          <ac:chgData name="Zhan, Yao" userId="S::yao.zhan@takeda.com::37b612df-86ed-4d30-8716-76c92ac1c591" providerId="AD" clId="Web-{79E5B74B-41E2-4036-8322-F6B7EBC589A1}" dt="2024-02-07T03:13:06.539" v="52"/>
          <ac:spMkLst>
            <pc:docMk/>
            <pc:sldMk cId="3822735020" sldId="2147474052"/>
            <ac:spMk id="10" creationId="{A1993180-B502-4EB5-1EE7-0AE0E9158D76}"/>
          </ac:spMkLst>
        </pc:spChg>
        <pc:picChg chg="add mod">
          <ac:chgData name="Zhan, Yao" userId="S::yao.zhan@takeda.com::37b612df-86ed-4d30-8716-76c92ac1c591" providerId="AD" clId="Web-{79E5B74B-41E2-4036-8322-F6B7EBC589A1}" dt="2024-02-07T03:13:11.680" v="53" actId="1076"/>
          <ac:picMkLst>
            <pc:docMk/>
            <pc:sldMk cId="3822735020" sldId="2147474052"/>
            <ac:picMk id="3" creationId="{9C9FC359-9E1B-285B-D90E-398E0D0F6C1C}"/>
          </ac:picMkLst>
        </pc:picChg>
        <pc:picChg chg="add del mod modCrop">
          <ac:chgData name="Zhan, Yao" userId="S::yao.zhan@takeda.com::37b612df-86ed-4d30-8716-76c92ac1c591" providerId="AD" clId="Web-{79E5B74B-41E2-4036-8322-F6B7EBC589A1}" dt="2024-02-07T03:12:18.569" v="49"/>
          <ac:picMkLst>
            <pc:docMk/>
            <pc:sldMk cId="3822735020" sldId="2147474052"/>
            <ac:picMk id="5" creationId="{69CB6855-3492-96F6-32C0-FE942BD09D6D}"/>
          </ac:picMkLst>
        </pc:picChg>
        <pc:picChg chg="add del mod">
          <ac:chgData name="Zhan, Yao" userId="S::yao.zhan@takeda.com::37b612df-86ed-4d30-8716-76c92ac1c591" providerId="AD" clId="Web-{79E5B74B-41E2-4036-8322-F6B7EBC589A1}" dt="2024-02-07T03:10:01.561" v="23"/>
          <ac:picMkLst>
            <pc:docMk/>
            <pc:sldMk cId="3822735020" sldId="2147474052"/>
            <ac:picMk id="6" creationId="{EEACEBDE-AC19-EA5B-03F7-108A747C3F85}"/>
          </ac:picMkLst>
        </pc:picChg>
      </pc:sldChg>
      <pc:sldChg chg="addSp delSp modSp new addAnim">
        <pc:chgData name="Zhan, Yao" userId="S::yao.zhan@takeda.com::37b612df-86ed-4d30-8716-76c92ac1c591" providerId="AD" clId="Web-{79E5B74B-41E2-4036-8322-F6B7EBC589A1}" dt="2024-02-07T05:14:04.671" v="179"/>
        <pc:sldMkLst>
          <pc:docMk/>
          <pc:sldMk cId="458858796" sldId="2147474053"/>
        </pc:sldMkLst>
        <pc:spChg chg="del">
          <ac:chgData name="Zhan, Yao" userId="S::yao.zhan@takeda.com::37b612df-86ed-4d30-8716-76c92ac1c591" providerId="AD" clId="Web-{79E5B74B-41E2-4036-8322-F6B7EBC589A1}" dt="2024-02-07T04:00:17.248" v="70"/>
          <ac:spMkLst>
            <pc:docMk/>
            <pc:sldMk cId="458858796" sldId="2147474053"/>
            <ac:spMk id="2" creationId="{F86BE685-A0F6-1963-F92E-6B84AB8461DE}"/>
          </ac:spMkLst>
        </pc:spChg>
        <pc:picChg chg="add mod">
          <ac:chgData name="Zhan, Yao" userId="S::yao.zhan@takeda.com::37b612df-86ed-4d30-8716-76c92ac1c591" providerId="AD" clId="Web-{79E5B74B-41E2-4036-8322-F6B7EBC589A1}" dt="2024-02-07T04:22:44.549" v="94" actId="1076"/>
          <ac:picMkLst>
            <pc:docMk/>
            <pc:sldMk cId="458858796" sldId="2147474053"/>
            <ac:picMk id="2" creationId="{D3A48BD4-8EAD-A649-B6B7-815AB2FFEAD9}"/>
          </ac:picMkLst>
        </pc:picChg>
        <pc:picChg chg="add del mod">
          <ac:chgData name="Zhan, Yao" userId="S::yao.zhan@takeda.com::37b612df-86ed-4d30-8716-76c92ac1c591" providerId="AD" clId="Web-{79E5B74B-41E2-4036-8322-F6B7EBC589A1}" dt="2024-02-07T04:00:33.733" v="75"/>
          <ac:picMkLst>
            <pc:docMk/>
            <pc:sldMk cId="458858796" sldId="2147474053"/>
            <ac:picMk id="7" creationId="{BAAC58CC-53F6-E97A-BA76-68FD8B98C747}"/>
          </ac:picMkLst>
        </pc:picChg>
        <pc:picChg chg="add mod">
          <ac:chgData name="Zhan, Yao" userId="S::yao.zhan@takeda.com::37b612df-86ed-4d30-8716-76c92ac1c591" providerId="AD" clId="Web-{79E5B74B-41E2-4036-8322-F6B7EBC589A1}" dt="2024-02-07T05:13:57.842" v="177" actId="1076"/>
          <ac:picMkLst>
            <pc:docMk/>
            <pc:sldMk cId="458858796" sldId="2147474053"/>
            <ac:picMk id="8" creationId="{2DA75490-BF2D-8A20-47F3-900EA741BDD3}"/>
          </ac:picMkLst>
        </pc:picChg>
        <pc:picChg chg="add mod">
          <ac:chgData name="Zhan, Yao" userId="S::yao.zhan@takeda.com::37b612df-86ed-4d30-8716-76c92ac1c591" providerId="AD" clId="Web-{79E5B74B-41E2-4036-8322-F6B7EBC589A1}" dt="2024-02-07T04:23:10.238" v="97" actId="1076"/>
          <ac:picMkLst>
            <pc:docMk/>
            <pc:sldMk cId="458858796" sldId="2147474053"/>
            <ac:picMk id="9" creationId="{1CF39097-FC35-C6D3-F9F5-AE67EEC148B5}"/>
          </ac:picMkLst>
        </pc:picChg>
      </pc:sldChg>
    </pc:docChg>
  </pc:docChgLst>
  <pc:docChgLst>
    <pc:chgData name="Zhan, Yao" userId="S::yao.zhan@takeda.com::37b612df-86ed-4d30-8716-76c92ac1c591" providerId="AD" clId="Web-{CC6BE1F9-6F86-EC93-1680-8852D7D51D46}"/>
    <pc:docChg chg="addSld modSection">
      <pc:chgData name="Zhan, Yao" userId="S::yao.zhan@takeda.com::37b612df-86ed-4d30-8716-76c92ac1c591" providerId="AD" clId="Web-{CC6BE1F9-6F86-EC93-1680-8852D7D51D46}" dt="2024-02-17T03:51:09.503" v="0"/>
      <pc:docMkLst>
        <pc:docMk/>
      </pc:docMkLst>
      <pc:sldChg chg="add">
        <pc:chgData name="Zhan, Yao" userId="S::yao.zhan@takeda.com::37b612df-86ed-4d30-8716-76c92ac1c591" providerId="AD" clId="Web-{CC6BE1F9-6F86-EC93-1680-8852D7D51D46}" dt="2024-02-17T03:51:09.503" v="0"/>
        <pc:sldMkLst>
          <pc:docMk/>
          <pc:sldMk cId="477353414" sldId="2147374157"/>
        </pc:sldMkLst>
      </pc:sldChg>
    </pc:docChg>
  </pc:docChgLst>
  <pc:docChgLst>
    <pc:chgData name="Zhan, Yao" userId="37b612df-86ed-4d30-8716-76c92ac1c591" providerId="ADAL" clId="{3F84E826-ADB0-4DE0-BA99-F21E8FCE1044}"/>
    <pc:docChg chg="undo redo custSel addSld delSld modSld sldOrd modSection">
      <pc:chgData name="Zhan, Yao" userId="37b612df-86ed-4d30-8716-76c92ac1c591" providerId="ADAL" clId="{3F84E826-ADB0-4DE0-BA99-F21E8FCE1044}" dt="2024-02-21T03:36:39.083" v="4668"/>
      <pc:docMkLst>
        <pc:docMk/>
      </pc:docMkLst>
      <pc:sldChg chg="modSp mod">
        <pc:chgData name="Zhan, Yao" userId="37b612df-86ed-4d30-8716-76c92ac1c591" providerId="ADAL" clId="{3F84E826-ADB0-4DE0-BA99-F21E8FCE1044}" dt="2024-01-16T20:59:52.663" v="1162" actId="20577"/>
        <pc:sldMkLst>
          <pc:docMk/>
          <pc:sldMk cId="3502702874" sldId="2145707097"/>
        </pc:sldMkLst>
        <pc:spChg chg="mod">
          <ac:chgData name="Zhan, Yao" userId="37b612df-86ed-4d30-8716-76c92ac1c591" providerId="ADAL" clId="{3F84E826-ADB0-4DE0-BA99-F21E8FCE1044}" dt="2024-01-16T20:59:52.663" v="1162" actId="20577"/>
          <ac:spMkLst>
            <pc:docMk/>
            <pc:sldMk cId="3502702874" sldId="2145707097"/>
            <ac:spMk id="16" creationId="{13C8D921-EF35-085D-8E07-8E91676B3472}"/>
          </ac:spMkLst>
        </pc:spChg>
      </pc:sldChg>
      <pc:sldChg chg="add del">
        <pc:chgData name="Zhan, Yao" userId="37b612df-86ed-4d30-8716-76c92ac1c591" providerId="ADAL" clId="{3F84E826-ADB0-4DE0-BA99-F21E8FCE1044}" dt="2024-02-21T03:27:36.881" v="4632" actId="47"/>
        <pc:sldMkLst>
          <pc:docMk/>
          <pc:sldMk cId="4210398036" sldId="2147374140"/>
        </pc:sldMkLst>
      </pc:sldChg>
      <pc:sldChg chg="del">
        <pc:chgData name="Zhan, Yao" userId="37b612df-86ed-4d30-8716-76c92ac1c591" providerId="ADAL" clId="{3F84E826-ADB0-4DE0-BA99-F21E8FCE1044}" dt="2024-01-12T17:04:56.614" v="27" actId="47"/>
        <pc:sldMkLst>
          <pc:docMk/>
          <pc:sldMk cId="1697822886" sldId="2147473999"/>
        </pc:sldMkLst>
      </pc:sldChg>
      <pc:sldChg chg="del">
        <pc:chgData name="Zhan, Yao" userId="37b612df-86ed-4d30-8716-76c92ac1c591" providerId="ADAL" clId="{3F84E826-ADB0-4DE0-BA99-F21E8FCE1044}" dt="2024-01-12T17:04:55.199" v="26" actId="47"/>
        <pc:sldMkLst>
          <pc:docMk/>
          <pc:sldMk cId="2092109900" sldId="2147474000"/>
        </pc:sldMkLst>
      </pc:sldChg>
      <pc:sldChg chg="addSp delSp modSp mod">
        <pc:chgData name="Zhan, Yao" userId="37b612df-86ed-4d30-8716-76c92ac1c591" providerId="ADAL" clId="{3F84E826-ADB0-4DE0-BA99-F21E8FCE1044}" dt="2024-01-16T20:24:39.410" v="470" actId="1076"/>
        <pc:sldMkLst>
          <pc:docMk/>
          <pc:sldMk cId="884730264" sldId="2147474001"/>
        </pc:sldMkLst>
        <pc:spChg chg="del">
          <ac:chgData name="Zhan, Yao" userId="37b612df-86ed-4d30-8716-76c92ac1c591" providerId="ADAL" clId="{3F84E826-ADB0-4DE0-BA99-F21E8FCE1044}" dt="2024-01-16T20:17:17.899" v="462" actId="478"/>
          <ac:spMkLst>
            <pc:docMk/>
            <pc:sldMk cId="884730264" sldId="2147474001"/>
            <ac:spMk id="2" creationId="{5C45EB4C-41B7-1102-4D38-923A4EB6C919}"/>
          </ac:spMkLst>
        </pc:spChg>
        <pc:spChg chg="mod">
          <ac:chgData name="Zhan, Yao" userId="37b612df-86ed-4d30-8716-76c92ac1c591" providerId="ADAL" clId="{3F84E826-ADB0-4DE0-BA99-F21E8FCE1044}" dt="2024-01-16T20:17:15.015" v="461" actId="14100"/>
          <ac:spMkLst>
            <pc:docMk/>
            <pc:sldMk cId="884730264" sldId="2147474001"/>
            <ac:spMk id="6" creationId="{E25062A8-3F0B-2799-B991-71251969503E}"/>
          </ac:spMkLst>
        </pc:spChg>
        <pc:spChg chg="del">
          <ac:chgData name="Zhan, Yao" userId="37b612df-86ed-4d30-8716-76c92ac1c591" providerId="ADAL" clId="{3F84E826-ADB0-4DE0-BA99-F21E8FCE1044}" dt="2024-01-04T15:41:10.469" v="21" actId="478"/>
          <ac:spMkLst>
            <pc:docMk/>
            <pc:sldMk cId="884730264" sldId="2147474001"/>
            <ac:spMk id="10" creationId="{9BEFC9FB-6D1B-68FF-965D-46F7AA069126}"/>
          </ac:spMkLst>
        </pc:spChg>
        <pc:spChg chg="del">
          <ac:chgData name="Zhan, Yao" userId="37b612df-86ed-4d30-8716-76c92ac1c591" providerId="ADAL" clId="{3F84E826-ADB0-4DE0-BA99-F21E8FCE1044}" dt="2024-01-04T15:41:06.608" v="20" actId="478"/>
          <ac:spMkLst>
            <pc:docMk/>
            <pc:sldMk cId="884730264" sldId="2147474001"/>
            <ac:spMk id="11" creationId="{C5D51DEE-25A6-0A4C-C3F3-EB8336249FEB}"/>
          </ac:spMkLst>
        </pc:spChg>
        <pc:spChg chg="add del mod">
          <ac:chgData name="Zhan, Yao" userId="37b612df-86ed-4d30-8716-76c92ac1c591" providerId="ADAL" clId="{3F84E826-ADB0-4DE0-BA99-F21E8FCE1044}" dt="2024-01-16T20:14:45.827" v="327" actId="313"/>
          <ac:spMkLst>
            <pc:docMk/>
            <pc:sldMk cId="884730264" sldId="2147474001"/>
            <ac:spMk id="12" creationId="{A183DE35-B5E8-C2C4-770E-EEBFEEC67AC9}"/>
          </ac:spMkLst>
        </pc:spChg>
        <pc:spChg chg="del">
          <ac:chgData name="Zhan, Yao" userId="37b612df-86ed-4d30-8716-76c92ac1c591" providerId="ADAL" clId="{3F84E826-ADB0-4DE0-BA99-F21E8FCE1044}" dt="2024-01-04T15:41:10.469" v="21" actId="478"/>
          <ac:spMkLst>
            <pc:docMk/>
            <pc:sldMk cId="884730264" sldId="2147474001"/>
            <ac:spMk id="13" creationId="{F64D5AFD-C70C-BAF2-EC8B-08CFC18DB16D}"/>
          </ac:spMkLst>
        </pc:spChg>
        <pc:spChg chg="del">
          <ac:chgData name="Zhan, Yao" userId="37b612df-86ed-4d30-8716-76c92ac1c591" providerId="ADAL" clId="{3F84E826-ADB0-4DE0-BA99-F21E8FCE1044}" dt="2024-01-04T15:41:10.469" v="21" actId="478"/>
          <ac:spMkLst>
            <pc:docMk/>
            <pc:sldMk cId="884730264" sldId="2147474001"/>
            <ac:spMk id="24" creationId="{DAF6C03B-A0B9-0FD0-C3DA-2D7EC91288CA}"/>
          </ac:spMkLst>
        </pc:spChg>
        <pc:graphicFrameChg chg="del">
          <ac:chgData name="Zhan, Yao" userId="37b612df-86ed-4d30-8716-76c92ac1c591" providerId="ADAL" clId="{3F84E826-ADB0-4DE0-BA99-F21E8FCE1044}" dt="2024-01-04T15:41:04.982" v="19" actId="478"/>
          <ac:graphicFrameMkLst>
            <pc:docMk/>
            <pc:sldMk cId="884730264" sldId="2147474001"/>
            <ac:graphicFrameMk id="15" creationId="{88CBB722-7355-9C30-8AAE-5DE829F97DE6}"/>
          </ac:graphicFrameMkLst>
        </pc:graphicFrameChg>
        <pc:picChg chg="add del">
          <ac:chgData name="Zhan, Yao" userId="37b612df-86ed-4d30-8716-76c92ac1c591" providerId="ADAL" clId="{3F84E826-ADB0-4DE0-BA99-F21E8FCE1044}" dt="2024-01-16T20:15:18.605" v="356" actId="478"/>
          <ac:picMkLst>
            <pc:docMk/>
            <pc:sldMk cId="884730264" sldId="2147474001"/>
            <ac:picMk id="3" creationId="{BCE711CE-51DE-B0B3-8555-71841839F1CE}"/>
          </ac:picMkLst>
        </pc:picChg>
        <pc:picChg chg="add mod">
          <ac:chgData name="Zhan, Yao" userId="37b612df-86ed-4d30-8716-76c92ac1c591" providerId="ADAL" clId="{3F84E826-ADB0-4DE0-BA99-F21E8FCE1044}" dt="2024-01-16T20:22:51.900" v="465" actId="1076"/>
          <ac:picMkLst>
            <pc:docMk/>
            <pc:sldMk cId="884730264" sldId="2147474001"/>
            <ac:picMk id="4" creationId="{C59C53DD-2E52-1B0B-2D48-C40C25675388}"/>
          </ac:picMkLst>
        </pc:picChg>
        <pc:picChg chg="add del mod">
          <ac:chgData name="Zhan, Yao" userId="37b612df-86ed-4d30-8716-76c92ac1c591" providerId="ADAL" clId="{3F84E826-ADB0-4DE0-BA99-F21E8FCE1044}" dt="2024-01-16T20:24:20.944" v="468" actId="478"/>
          <ac:picMkLst>
            <pc:docMk/>
            <pc:sldMk cId="884730264" sldId="2147474001"/>
            <ac:picMk id="5" creationId="{973CA637-F9A3-52C4-6D62-FB14F79633F9}"/>
          </ac:picMkLst>
        </pc:picChg>
        <pc:picChg chg="add mod">
          <ac:chgData name="Zhan, Yao" userId="37b612df-86ed-4d30-8716-76c92ac1c591" providerId="ADAL" clId="{3F84E826-ADB0-4DE0-BA99-F21E8FCE1044}" dt="2024-01-16T20:24:39.410" v="470" actId="1076"/>
          <ac:picMkLst>
            <pc:docMk/>
            <pc:sldMk cId="884730264" sldId="2147474001"/>
            <ac:picMk id="8" creationId="{B918C8A6-1291-107E-6DEF-2F51E6DC79F9}"/>
          </ac:picMkLst>
        </pc:picChg>
        <pc:picChg chg="del">
          <ac:chgData name="Zhan, Yao" userId="37b612df-86ed-4d30-8716-76c92ac1c591" providerId="ADAL" clId="{3F84E826-ADB0-4DE0-BA99-F21E8FCE1044}" dt="2024-01-04T15:41:03.513" v="18" actId="478"/>
          <ac:picMkLst>
            <pc:docMk/>
            <pc:sldMk cId="884730264" sldId="2147474001"/>
            <ac:picMk id="9" creationId="{CC820E94-D4E5-E948-3445-F4C9A589D021}"/>
          </ac:picMkLst>
        </pc:picChg>
        <pc:picChg chg="del">
          <ac:chgData name="Zhan, Yao" userId="37b612df-86ed-4d30-8716-76c92ac1c591" providerId="ADAL" clId="{3F84E826-ADB0-4DE0-BA99-F21E8FCE1044}" dt="2024-01-04T15:40:58.285" v="14" actId="478"/>
          <ac:picMkLst>
            <pc:docMk/>
            <pc:sldMk cId="884730264" sldId="2147474001"/>
            <ac:picMk id="18" creationId="{DD149D3B-92C2-0ECD-8A41-694DA6DDEF42}"/>
          </ac:picMkLst>
        </pc:picChg>
        <pc:picChg chg="del">
          <ac:chgData name="Zhan, Yao" userId="37b612df-86ed-4d30-8716-76c92ac1c591" providerId="ADAL" clId="{3F84E826-ADB0-4DE0-BA99-F21E8FCE1044}" dt="2024-01-04T15:40:59.631" v="15" actId="478"/>
          <ac:picMkLst>
            <pc:docMk/>
            <pc:sldMk cId="884730264" sldId="2147474001"/>
            <ac:picMk id="20" creationId="{0E31B71B-418B-046F-60D3-D140E1B130D4}"/>
          </ac:picMkLst>
        </pc:picChg>
        <pc:picChg chg="del">
          <ac:chgData name="Zhan, Yao" userId="37b612df-86ed-4d30-8716-76c92ac1c591" providerId="ADAL" clId="{3F84E826-ADB0-4DE0-BA99-F21E8FCE1044}" dt="2024-01-04T15:41:00.899" v="16" actId="478"/>
          <ac:picMkLst>
            <pc:docMk/>
            <pc:sldMk cId="884730264" sldId="2147474001"/>
            <ac:picMk id="21" creationId="{222D810B-EEDB-A247-F573-641A40B4A188}"/>
          </ac:picMkLst>
        </pc:picChg>
        <pc:picChg chg="del">
          <ac:chgData name="Zhan, Yao" userId="37b612df-86ed-4d30-8716-76c92ac1c591" providerId="ADAL" clId="{3F84E826-ADB0-4DE0-BA99-F21E8FCE1044}" dt="2024-01-04T15:41:02.164" v="17" actId="478"/>
          <ac:picMkLst>
            <pc:docMk/>
            <pc:sldMk cId="884730264" sldId="2147474001"/>
            <ac:picMk id="22" creationId="{D499AE06-32EF-59CB-875B-5D1F8B267909}"/>
          </ac:picMkLst>
        </pc:picChg>
        <pc:cxnChg chg="del">
          <ac:chgData name="Zhan, Yao" userId="37b612df-86ed-4d30-8716-76c92ac1c591" providerId="ADAL" clId="{3F84E826-ADB0-4DE0-BA99-F21E8FCE1044}" dt="2024-01-04T15:41:10.469" v="21" actId="478"/>
          <ac:cxnSpMkLst>
            <pc:docMk/>
            <pc:sldMk cId="884730264" sldId="2147474001"/>
            <ac:cxnSpMk id="26" creationId="{28543B92-8E47-4ABD-5284-CCD83FB90054}"/>
          </ac:cxnSpMkLst>
        </pc:cxnChg>
      </pc:sldChg>
      <pc:sldChg chg="del">
        <pc:chgData name="Zhan, Yao" userId="37b612df-86ed-4d30-8716-76c92ac1c591" providerId="ADAL" clId="{3F84E826-ADB0-4DE0-BA99-F21E8FCE1044}" dt="2024-01-04T15:40:40.710" v="1" actId="47"/>
        <pc:sldMkLst>
          <pc:docMk/>
          <pc:sldMk cId="71782997" sldId="2147474006"/>
        </pc:sldMkLst>
      </pc:sldChg>
      <pc:sldChg chg="del">
        <pc:chgData name="Zhan, Yao" userId="37b612df-86ed-4d30-8716-76c92ac1c591" providerId="ADAL" clId="{3F84E826-ADB0-4DE0-BA99-F21E8FCE1044}" dt="2024-01-04T15:40:39.135" v="0" actId="47"/>
        <pc:sldMkLst>
          <pc:docMk/>
          <pc:sldMk cId="3923919587" sldId="2147474007"/>
        </pc:sldMkLst>
      </pc:sldChg>
      <pc:sldChg chg="del">
        <pc:chgData name="Zhan, Yao" userId="37b612df-86ed-4d30-8716-76c92ac1c591" providerId="ADAL" clId="{3F84E826-ADB0-4DE0-BA99-F21E8FCE1044}" dt="2024-01-04T15:40:41.244" v="3" actId="47"/>
        <pc:sldMkLst>
          <pc:docMk/>
          <pc:sldMk cId="3210659523" sldId="2147474008"/>
        </pc:sldMkLst>
      </pc:sldChg>
      <pc:sldChg chg="del">
        <pc:chgData name="Zhan, Yao" userId="37b612df-86ed-4d30-8716-76c92ac1c591" providerId="ADAL" clId="{3F84E826-ADB0-4DE0-BA99-F21E8FCE1044}" dt="2024-01-04T15:40:41.030" v="2" actId="47"/>
        <pc:sldMkLst>
          <pc:docMk/>
          <pc:sldMk cId="3083029737" sldId="2147474009"/>
        </pc:sldMkLst>
      </pc:sldChg>
      <pc:sldChg chg="del">
        <pc:chgData name="Zhan, Yao" userId="37b612df-86ed-4d30-8716-76c92ac1c591" providerId="ADAL" clId="{3F84E826-ADB0-4DE0-BA99-F21E8FCE1044}" dt="2024-01-04T15:40:44.127" v="11" actId="47"/>
        <pc:sldMkLst>
          <pc:docMk/>
          <pc:sldMk cId="1326188037" sldId="2147474010"/>
        </pc:sldMkLst>
      </pc:sldChg>
      <pc:sldChg chg="del">
        <pc:chgData name="Zhan, Yao" userId="37b612df-86ed-4d30-8716-76c92ac1c591" providerId="ADAL" clId="{3F84E826-ADB0-4DE0-BA99-F21E8FCE1044}" dt="2024-01-04T15:40:43.625" v="10" actId="47"/>
        <pc:sldMkLst>
          <pc:docMk/>
          <pc:sldMk cId="3083181330" sldId="2147474011"/>
        </pc:sldMkLst>
      </pc:sldChg>
      <pc:sldChg chg="del">
        <pc:chgData name="Zhan, Yao" userId="37b612df-86ed-4d30-8716-76c92ac1c591" providerId="ADAL" clId="{3F84E826-ADB0-4DE0-BA99-F21E8FCE1044}" dt="2024-01-04T15:40:42.978" v="9" actId="47"/>
        <pc:sldMkLst>
          <pc:docMk/>
          <pc:sldMk cId="1477799583" sldId="2147474012"/>
        </pc:sldMkLst>
      </pc:sldChg>
      <pc:sldChg chg="del">
        <pc:chgData name="Zhan, Yao" userId="37b612df-86ed-4d30-8716-76c92ac1c591" providerId="ADAL" clId="{3F84E826-ADB0-4DE0-BA99-F21E8FCE1044}" dt="2024-01-04T15:40:42.513" v="8" actId="47"/>
        <pc:sldMkLst>
          <pc:docMk/>
          <pc:sldMk cId="3619031872" sldId="2147474013"/>
        </pc:sldMkLst>
      </pc:sldChg>
      <pc:sldChg chg="del">
        <pc:chgData name="Zhan, Yao" userId="37b612df-86ed-4d30-8716-76c92ac1c591" providerId="ADAL" clId="{3F84E826-ADB0-4DE0-BA99-F21E8FCE1044}" dt="2024-01-04T15:40:42.165" v="7" actId="47"/>
        <pc:sldMkLst>
          <pc:docMk/>
          <pc:sldMk cId="2886074653" sldId="2147474014"/>
        </pc:sldMkLst>
      </pc:sldChg>
      <pc:sldChg chg="del">
        <pc:chgData name="Zhan, Yao" userId="37b612df-86ed-4d30-8716-76c92ac1c591" providerId="ADAL" clId="{3F84E826-ADB0-4DE0-BA99-F21E8FCE1044}" dt="2024-01-04T15:40:41.925" v="6" actId="47"/>
        <pc:sldMkLst>
          <pc:docMk/>
          <pc:sldMk cId="4260360071" sldId="2147474015"/>
        </pc:sldMkLst>
      </pc:sldChg>
      <pc:sldChg chg="del">
        <pc:chgData name="Zhan, Yao" userId="37b612df-86ed-4d30-8716-76c92ac1c591" providerId="ADAL" clId="{3F84E826-ADB0-4DE0-BA99-F21E8FCE1044}" dt="2024-01-04T15:40:41.650" v="5" actId="47"/>
        <pc:sldMkLst>
          <pc:docMk/>
          <pc:sldMk cId="4139431447" sldId="2147474016"/>
        </pc:sldMkLst>
      </pc:sldChg>
      <pc:sldChg chg="del">
        <pc:chgData name="Zhan, Yao" userId="37b612df-86ed-4d30-8716-76c92ac1c591" providerId="ADAL" clId="{3F84E826-ADB0-4DE0-BA99-F21E8FCE1044}" dt="2024-01-04T15:40:41.449" v="4" actId="47"/>
        <pc:sldMkLst>
          <pc:docMk/>
          <pc:sldMk cId="3595869496" sldId="2147474017"/>
        </pc:sldMkLst>
      </pc:sldChg>
      <pc:sldChg chg="del">
        <pc:chgData name="Zhan, Yao" userId="37b612df-86ed-4d30-8716-76c92ac1c591" providerId="ADAL" clId="{3F84E826-ADB0-4DE0-BA99-F21E8FCE1044}" dt="2024-01-12T17:04:54.507" v="25" actId="47"/>
        <pc:sldMkLst>
          <pc:docMk/>
          <pc:sldMk cId="3155901686" sldId="2147474019"/>
        </pc:sldMkLst>
      </pc:sldChg>
      <pc:sldChg chg="ord">
        <pc:chgData name="Zhan, Yao" userId="37b612df-86ed-4d30-8716-76c92ac1c591" providerId="ADAL" clId="{3F84E826-ADB0-4DE0-BA99-F21E8FCE1044}" dt="2024-02-21T01:55:17.835" v="4560" actId="20578"/>
        <pc:sldMkLst>
          <pc:docMk/>
          <pc:sldMk cId="367573957" sldId="2147474022"/>
        </pc:sldMkLst>
      </pc:sldChg>
      <pc:sldChg chg="delSp modSp mod">
        <pc:chgData name="Zhan, Yao" userId="37b612df-86ed-4d30-8716-76c92ac1c591" providerId="ADAL" clId="{3F84E826-ADB0-4DE0-BA99-F21E8FCE1044}" dt="2024-01-12T16:39:47.194" v="24" actId="1076"/>
        <pc:sldMkLst>
          <pc:docMk/>
          <pc:sldMk cId="3334079825" sldId="2147474023"/>
        </pc:sldMkLst>
        <pc:picChg chg="mod">
          <ac:chgData name="Zhan, Yao" userId="37b612df-86ed-4d30-8716-76c92ac1c591" providerId="ADAL" clId="{3F84E826-ADB0-4DE0-BA99-F21E8FCE1044}" dt="2024-01-12T16:39:47.194" v="24" actId="1076"/>
          <ac:picMkLst>
            <pc:docMk/>
            <pc:sldMk cId="3334079825" sldId="2147474023"/>
            <ac:picMk id="10" creationId="{C3A4893C-02CE-7FDC-3A63-5AF076203127}"/>
          </ac:picMkLst>
        </pc:picChg>
        <pc:picChg chg="del">
          <ac:chgData name="Zhan, Yao" userId="37b612df-86ed-4d30-8716-76c92ac1c591" providerId="ADAL" clId="{3F84E826-ADB0-4DE0-BA99-F21E8FCE1044}" dt="2024-01-12T16:39:39.426" v="22" actId="478"/>
          <ac:picMkLst>
            <pc:docMk/>
            <pc:sldMk cId="3334079825" sldId="2147474023"/>
            <ac:picMk id="11" creationId="{F5C2D180-279C-BA83-E1EF-3992650B725E}"/>
          </ac:picMkLst>
        </pc:picChg>
      </pc:sldChg>
      <pc:sldChg chg="addSp delSp modSp mod">
        <pc:chgData name="Zhan, Yao" userId="37b612df-86ed-4d30-8716-76c92ac1c591" providerId="ADAL" clId="{3F84E826-ADB0-4DE0-BA99-F21E8FCE1044}" dt="2024-01-16T20:30:40.314" v="492" actId="20577"/>
        <pc:sldMkLst>
          <pc:docMk/>
          <pc:sldMk cId="1343070702" sldId="2147474024"/>
        </pc:sldMkLst>
        <pc:spChg chg="mod">
          <ac:chgData name="Zhan, Yao" userId="37b612df-86ed-4d30-8716-76c92ac1c591" providerId="ADAL" clId="{3F84E826-ADB0-4DE0-BA99-F21E8FCE1044}" dt="2024-01-16T20:30:40.314" v="492" actId="20577"/>
          <ac:spMkLst>
            <pc:docMk/>
            <pc:sldMk cId="1343070702" sldId="2147474024"/>
            <ac:spMk id="4" creationId="{5D7E6D62-5405-7163-734B-D907DE4D197C}"/>
          </ac:spMkLst>
        </pc:spChg>
        <pc:picChg chg="add del">
          <ac:chgData name="Zhan, Yao" userId="37b612df-86ed-4d30-8716-76c92ac1c591" providerId="ADAL" clId="{3F84E826-ADB0-4DE0-BA99-F21E8FCE1044}" dt="2024-01-16T20:05:05.553" v="122" actId="478"/>
          <ac:picMkLst>
            <pc:docMk/>
            <pc:sldMk cId="1343070702" sldId="2147474024"/>
            <ac:picMk id="2" creationId="{BE562119-CF8A-1CEE-9AD6-F7D3D406BCE3}"/>
          </ac:picMkLst>
        </pc:picChg>
        <pc:picChg chg="add del">
          <ac:chgData name="Zhan, Yao" userId="37b612df-86ed-4d30-8716-76c92ac1c591" providerId="ADAL" clId="{3F84E826-ADB0-4DE0-BA99-F21E8FCE1044}" dt="2024-01-16T20:08:01.218" v="127" actId="478"/>
          <ac:picMkLst>
            <pc:docMk/>
            <pc:sldMk cId="1343070702" sldId="2147474024"/>
            <ac:picMk id="7" creationId="{A77F615C-6F22-3690-22E9-95E4243D456C}"/>
          </ac:picMkLst>
        </pc:picChg>
        <pc:picChg chg="add mod">
          <ac:chgData name="Zhan, Yao" userId="37b612df-86ed-4d30-8716-76c92ac1c591" providerId="ADAL" clId="{3F84E826-ADB0-4DE0-BA99-F21E8FCE1044}" dt="2024-01-16T20:09:54.629" v="143" actId="1076"/>
          <ac:picMkLst>
            <pc:docMk/>
            <pc:sldMk cId="1343070702" sldId="2147474024"/>
            <ac:picMk id="8" creationId="{57E068CC-7A50-6AB1-BFE1-E158C4499B2F}"/>
          </ac:picMkLst>
        </pc:picChg>
        <pc:picChg chg="add del mod">
          <ac:chgData name="Zhan, Yao" userId="37b612df-86ed-4d30-8716-76c92ac1c591" providerId="ADAL" clId="{3F84E826-ADB0-4DE0-BA99-F21E8FCE1044}" dt="2024-01-16T20:09:31.074" v="136" actId="478"/>
          <ac:picMkLst>
            <pc:docMk/>
            <pc:sldMk cId="1343070702" sldId="2147474024"/>
            <ac:picMk id="9" creationId="{10B5A73D-7404-5C83-4DE5-DB6862982958}"/>
          </ac:picMkLst>
        </pc:picChg>
        <pc:picChg chg="add mod">
          <ac:chgData name="Zhan, Yao" userId="37b612df-86ed-4d30-8716-76c92ac1c591" providerId="ADAL" clId="{3F84E826-ADB0-4DE0-BA99-F21E8FCE1044}" dt="2024-01-16T20:09:57.202" v="144" actId="1076"/>
          <ac:picMkLst>
            <pc:docMk/>
            <pc:sldMk cId="1343070702" sldId="2147474024"/>
            <ac:picMk id="10" creationId="{F8C43E7A-D205-9EF8-E1E1-872672BE59B9}"/>
          </ac:picMkLst>
        </pc:picChg>
      </pc:sldChg>
      <pc:sldChg chg="addSp delSp modSp new add del mod">
        <pc:chgData name="Zhan, Yao" userId="37b612df-86ed-4d30-8716-76c92ac1c591" providerId="ADAL" clId="{3F84E826-ADB0-4DE0-BA99-F21E8FCE1044}" dt="2024-01-16T20:06:47.605" v="126" actId="47"/>
        <pc:sldMkLst>
          <pc:docMk/>
          <pc:sldMk cId="650627108" sldId="2147474025"/>
        </pc:sldMkLst>
        <pc:spChg chg="del">
          <ac:chgData name="Zhan, Yao" userId="37b612df-86ed-4d30-8716-76c92ac1c591" providerId="ADAL" clId="{3F84E826-ADB0-4DE0-BA99-F21E8FCE1044}" dt="2024-01-16T17:30:55.012" v="30" actId="478"/>
          <ac:spMkLst>
            <pc:docMk/>
            <pc:sldMk cId="650627108" sldId="2147474025"/>
            <ac:spMk id="2" creationId="{84F8BB0E-3DDB-9495-359F-DC48AA8708C1}"/>
          </ac:spMkLst>
        </pc:spChg>
        <pc:picChg chg="add del mod">
          <ac:chgData name="Zhan, Yao" userId="37b612df-86ed-4d30-8716-76c92ac1c591" providerId="ADAL" clId="{3F84E826-ADB0-4DE0-BA99-F21E8FCE1044}" dt="2024-01-16T18:23:25.941" v="34" actId="478"/>
          <ac:picMkLst>
            <pc:docMk/>
            <pc:sldMk cId="650627108" sldId="2147474025"/>
            <ac:picMk id="7" creationId="{5675ECA6-7A5D-68EA-1079-58EA5E0A9E86}"/>
          </ac:picMkLst>
        </pc:picChg>
        <pc:picChg chg="add mod">
          <ac:chgData name="Zhan, Yao" userId="37b612df-86ed-4d30-8716-76c92ac1c591" providerId="ADAL" clId="{3F84E826-ADB0-4DE0-BA99-F21E8FCE1044}" dt="2024-01-16T18:35:41.907" v="38" actId="1076"/>
          <ac:picMkLst>
            <pc:docMk/>
            <pc:sldMk cId="650627108" sldId="2147474025"/>
            <ac:picMk id="8" creationId="{DA16BAB9-CEB2-2F0B-9EAB-E6001E630C2D}"/>
          </ac:picMkLst>
        </pc:picChg>
      </pc:sldChg>
      <pc:sldChg chg="new del">
        <pc:chgData name="Zhan, Yao" userId="37b612df-86ed-4d30-8716-76c92ac1c591" providerId="ADAL" clId="{3F84E826-ADB0-4DE0-BA99-F21E8FCE1044}" dt="2024-01-04T15:40:56.492" v="13" actId="47"/>
        <pc:sldMkLst>
          <pc:docMk/>
          <pc:sldMk cId="952206426" sldId="2147474025"/>
        </pc:sldMkLst>
      </pc:sldChg>
      <pc:sldChg chg="addSp delSp modSp new add del mod">
        <pc:chgData name="Zhan, Yao" userId="37b612df-86ed-4d30-8716-76c92ac1c591" providerId="ADAL" clId="{3F84E826-ADB0-4DE0-BA99-F21E8FCE1044}" dt="2024-01-16T20:11:21.513" v="146" actId="47"/>
        <pc:sldMkLst>
          <pc:docMk/>
          <pc:sldMk cId="1256325070" sldId="2147474026"/>
        </pc:sldMkLst>
        <pc:spChg chg="del">
          <ac:chgData name="Zhan, Yao" userId="37b612df-86ed-4d30-8716-76c92ac1c591" providerId="ADAL" clId="{3F84E826-ADB0-4DE0-BA99-F21E8FCE1044}" dt="2024-01-16T19:27:18.969" v="40" actId="478"/>
          <ac:spMkLst>
            <pc:docMk/>
            <pc:sldMk cId="1256325070" sldId="2147474026"/>
            <ac:spMk id="2" creationId="{481DC298-684A-F907-C00E-6846A42FCC20}"/>
          </ac:spMkLst>
        </pc:spChg>
        <pc:spChg chg="mod">
          <ac:chgData name="Zhan, Yao" userId="37b612df-86ed-4d30-8716-76c92ac1c591" providerId="ADAL" clId="{3F84E826-ADB0-4DE0-BA99-F21E8FCE1044}" dt="2024-01-16T19:28:01.140" v="121" actId="20577"/>
          <ac:spMkLst>
            <pc:docMk/>
            <pc:sldMk cId="1256325070" sldId="2147474026"/>
            <ac:spMk id="4" creationId="{277E311D-5333-3F7F-D754-54FDD309F13A}"/>
          </ac:spMkLst>
        </pc:spChg>
        <pc:picChg chg="add mod">
          <ac:chgData name="Zhan, Yao" userId="37b612df-86ed-4d30-8716-76c92ac1c591" providerId="ADAL" clId="{3F84E826-ADB0-4DE0-BA99-F21E8FCE1044}" dt="2024-01-16T19:27:24.401" v="42" actId="1076"/>
          <ac:picMkLst>
            <pc:docMk/>
            <pc:sldMk cId="1256325070" sldId="2147474026"/>
            <ac:picMk id="7" creationId="{47A34C8B-2EFC-D99F-2A7E-EA5758A7899D}"/>
          </ac:picMkLst>
        </pc:picChg>
      </pc:sldChg>
      <pc:sldChg chg="new del">
        <pc:chgData name="Zhan, Yao" userId="37b612df-86ed-4d30-8716-76c92ac1c591" providerId="ADAL" clId="{3F84E826-ADB0-4DE0-BA99-F21E8FCE1044}" dt="2024-01-16T20:15:13.283" v="355" actId="47"/>
        <pc:sldMkLst>
          <pc:docMk/>
          <pc:sldMk cId="3933110366" sldId="2147474027"/>
        </pc:sldMkLst>
      </pc:sldChg>
      <pc:sldChg chg="add del ord">
        <pc:chgData name="Zhan, Yao" userId="37b612df-86ed-4d30-8716-76c92ac1c591" providerId="ADAL" clId="{3F84E826-ADB0-4DE0-BA99-F21E8FCE1044}" dt="2024-01-16T20:30:01.148" v="472"/>
        <pc:sldMkLst>
          <pc:docMk/>
          <pc:sldMk cId="3554396063" sldId="2147474028"/>
        </pc:sldMkLst>
      </pc:sldChg>
      <pc:sldChg chg="new del">
        <pc:chgData name="Zhan, Yao" userId="37b612df-86ed-4d30-8716-76c92ac1c591" providerId="ADAL" clId="{3F84E826-ADB0-4DE0-BA99-F21E8FCE1044}" dt="2024-01-16T20:36:14.123" v="495" actId="47"/>
        <pc:sldMkLst>
          <pc:docMk/>
          <pc:sldMk cId="576936275" sldId="2147474029"/>
        </pc:sldMkLst>
      </pc:sldChg>
      <pc:sldChg chg="addSp delSp modSp new mod">
        <pc:chgData name="Zhan, Yao" userId="37b612df-86ed-4d30-8716-76c92ac1c591" providerId="ADAL" clId="{3F84E826-ADB0-4DE0-BA99-F21E8FCE1044}" dt="2024-01-16T20:50:19.215" v="730" actId="20577"/>
        <pc:sldMkLst>
          <pc:docMk/>
          <pc:sldMk cId="2252991511" sldId="2147474030"/>
        </pc:sldMkLst>
        <pc:spChg chg="del">
          <ac:chgData name="Zhan, Yao" userId="37b612df-86ed-4d30-8716-76c92ac1c591" providerId="ADAL" clId="{3F84E826-ADB0-4DE0-BA99-F21E8FCE1044}" dt="2024-01-16T20:37:05.016" v="496" actId="478"/>
          <ac:spMkLst>
            <pc:docMk/>
            <pc:sldMk cId="2252991511" sldId="2147474030"/>
            <ac:spMk id="2" creationId="{18DE2BB5-DE9D-77B9-6EBD-EAD33D93AC54}"/>
          </ac:spMkLst>
        </pc:spChg>
        <pc:spChg chg="mod">
          <ac:chgData name="Zhan, Yao" userId="37b612df-86ed-4d30-8716-76c92ac1c591" providerId="ADAL" clId="{3F84E826-ADB0-4DE0-BA99-F21E8FCE1044}" dt="2024-01-16T20:48:45.028" v="559" actId="20577"/>
          <ac:spMkLst>
            <pc:docMk/>
            <pc:sldMk cId="2252991511" sldId="2147474030"/>
            <ac:spMk id="4" creationId="{2FCA1A98-DA77-54FF-1D9F-B009526359A4}"/>
          </ac:spMkLst>
        </pc:spChg>
        <pc:spChg chg="add mod">
          <ac:chgData name="Zhan, Yao" userId="37b612df-86ed-4d30-8716-76c92ac1c591" providerId="ADAL" clId="{3F84E826-ADB0-4DE0-BA99-F21E8FCE1044}" dt="2024-01-16T20:50:19.215" v="730" actId="20577"/>
          <ac:spMkLst>
            <pc:docMk/>
            <pc:sldMk cId="2252991511" sldId="2147474030"/>
            <ac:spMk id="8" creationId="{C40CA9DC-90B1-17A9-567F-5772408DB3B7}"/>
          </ac:spMkLst>
        </pc:spChg>
        <pc:picChg chg="add mod">
          <ac:chgData name="Zhan, Yao" userId="37b612df-86ed-4d30-8716-76c92ac1c591" providerId="ADAL" clId="{3F84E826-ADB0-4DE0-BA99-F21E8FCE1044}" dt="2024-01-16T20:48:03.893" v="498" actId="1076"/>
          <ac:picMkLst>
            <pc:docMk/>
            <pc:sldMk cId="2252991511" sldId="2147474030"/>
            <ac:picMk id="7" creationId="{783736D8-73BE-B906-5200-FC6795E5A398}"/>
          </ac:picMkLst>
        </pc:picChg>
      </pc:sldChg>
      <pc:sldChg chg="addSp delSp modSp new mod">
        <pc:chgData name="Zhan, Yao" userId="37b612df-86ed-4d30-8716-76c92ac1c591" providerId="ADAL" clId="{3F84E826-ADB0-4DE0-BA99-F21E8FCE1044}" dt="2024-01-25T16:09:40.105" v="1201" actId="1038"/>
        <pc:sldMkLst>
          <pc:docMk/>
          <pc:sldMk cId="2445296865" sldId="2147474031"/>
        </pc:sldMkLst>
        <pc:spChg chg="del">
          <ac:chgData name="Zhan, Yao" userId="37b612df-86ed-4d30-8716-76c92ac1c591" providerId="ADAL" clId="{3F84E826-ADB0-4DE0-BA99-F21E8FCE1044}" dt="2024-01-16T20:50:35.601" v="732" actId="478"/>
          <ac:spMkLst>
            <pc:docMk/>
            <pc:sldMk cId="2445296865" sldId="2147474031"/>
            <ac:spMk id="2" creationId="{1EC0CEB5-3459-D75B-6D0D-3D9C1EBA3593}"/>
          </ac:spMkLst>
        </pc:spChg>
        <pc:spChg chg="mod">
          <ac:chgData name="Zhan, Yao" userId="37b612df-86ed-4d30-8716-76c92ac1c591" providerId="ADAL" clId="{3F84E826-ADB0-4DE0-BA99-F21E8FCE1044}" dt="2024-01-16T20:52:28.851" v="832" actId="20577"/>
          <ac:spMkLst>
            <pc:docMk/>
            <pc:sldMk cId="2445296865" sldId="2147474031"/>
            <ac:spMk id="4" creationId="{0533C20E-55F2-CC3C-19FA-BDDE5BB3C632}"/>
          </ac:spMkLst>
        </pc:spChg>
        <pc:spChg chg="mod">
          <ac:chgData name="Zhan, Yao" userId="37b612df-86ed-4d30-8716-76c92ac1c591" providerId="ADAL" clId="{3F84E826-ADB0-4DE0-BA99-F21E8FCE1044}" dt="2024-01-25T16:09:40.105" v="1201" actId="1038"/>
          <ac:spMkLst>
            <pc:docMk/>
            <pc:sldMk cId="2445296865" sldId="2147474031"/>
            <ac:spMk id="5" creationId="{8AF172B7-0468-14FB-A5CE-27ECAC397247}"/>
          </ac:spMkLst>
        </pc:spChg>
        <pc:spChg chg="mod">
          <ac:chgData name="Zhan, Yao" userId="37b612df-86ed-4d30-8716-76c92ac1c591" providerId="ADAL" clId="{3F84E826-ADB0-4DE0-BA99-F21E8FCE1044}" dt="2024-01-25T16:09:40.105" v="1201" actId="1038"/>
          <ac:spMkLst>
            <pc:docMk/>
            <pc:sldMk cId="2445296865" sldId="2147474031"/>
            <ac:spMk id="6" creationId="{00C7CEFC-DCF7-FB75-6A58-971D47145987}"/>
          </ac:spMkLst>
        </pc:spChg>
        <pc:spChg chg="add mod">
          <ac:chgData name="Zhan, Yao" userId="37b612df-86ed-4d30-8716-76c92ac1c591" providerId="ADAL" clId="{3F84E826-ADB0-4DE0-BA99-F21E8FCE1044}" dt="2024-01-25T16:09:40.105" v="1201" actId="1038"/>
          <ac:spMkLst>
            <pc:docMk/>
            <pc:sldMk cId="2445296865" sldId="2147474031"/>
            <ac:spMk id="9" creationId="{EC6C8995-9B3D-21F8-90DD-B2EC779EEEF7}"/>
          </ac:spMkLst>
        </pc:spChg>
        <pc:spChg chg="add mod">
          <ac:chgData name="Zhan, Yao" userId="37b612df-86ed-4d30-8716-76c92ac1c591" providerId="ADAL" clId="{3F84E826-ADB0-4DE0-BA99-F21E8FCE1044}" dt="2024-01-25T16:09:40.105" v="1201" actId="1038"/>
          <ac:spMkLst>
            <pc:docMk/>
            <pc:sldMk cId="2445296865" sldId="2147474031"/>
            <ac:spMk id="10" creationId="{5D377E0B-F58A-2CB3-6E6B-E9F39F21A06A}"/>
          </ac:spMkLst>
        </pc:spChg>
        <pc:spChg chg="add mod">
          <ac:chgData name="Zhan, Yao" userId="37b612df-86ed-4d30-8716-76c92ac1c591" providerId="ADAL" clId="{3F84E826-ADB0-4DE0-BA99-F21E8FCE1044}" dt="2024-01-25T16:09:40.105" v="1201" actId="1038"/>
          <ac:spMkLst>
            <pc:docMk/>
            <pc:sldMk cId="2445296865" sldId="2147474031"/>
            <ac:spMk id="11" creationId="{479F5897-384A-A9D0-947B-05B43EEB77E2}"/>
          </ac:spMkLst>
        </pc:spChg>
        <pc:spChg chg="add mod">
          <ac:chgData name="Zhan, Yao" userId="37b612df-86ed-4d30-8716-76c92ac1c591" providerId="ADAL" clId="{3F84E826-ADB0-4DE0-BA99-F21E8FCE1044}" dt="2024-01-25T16:09:40.105" v="1201" actId="1038"/>
          <ac:spMkLst>
            <pc:docMk/>
            <pc:sldMk cId="2445296865" sldId="2147474031"/>
            <ac:spMk id="12" creationId="{8A18933B-6B3C-3787-EDA3-13A104796B13}"/>
          </ac:spMkLst>
        </pc:spChg>
        <pc:spChg chg="add mod">
          <ac:chgData name="Zhan, Yao" userId="37b612df-86ed-4d30-8716-76c92ac1c591" providerId="ADAL" clId="{3F84E826-ADB0-4DE0-BA99-F21E8FCE1044}" dt="2024-01-16T20:55:39.242" v="942" actId="1076"/>
          <ac:spMkLst>
            <pc:docMk/>
            <pc:sldMk cId="2445296865" sldId="2147474031"/>
            <ac:spMk id="13" creationId="{6BDD1255-8F02-AD47-983D-47121AD30F07}"/>
          </ac:spMkLst>
        </pc:spChg>
        <pc:picChg chg="add del mod">
          <ac:chgData name="Zhan, Yao" userId="37b612df-86ed-4d30-8716-76c92ac1c591" providerId="ADAL" clId="{3F84E826-ADB0-4DE0-BA99-F21E8FCE1044}" dt="2024-01-16T20:53:14.278" v="833" actId="478"/>
          <ac:picMkLst>
            <pc:docMk/>
            <pc:sldMk cId="2445296865" sldId="2147474031"/>
            <ac:picMk id="7" creationId="{23DA6A41-7B3C-8F3D-9FF0-D61CD0C7D39D}"/>
          </ac:picMkLst>
        </pc:picChg>
        <pc:picChg chg="add mod">
          <ac:chgData name="Zhan, Yao" userId="37b612df-86ed-4d30-8716-76c92ac1c591" providerId="ADAL" clId="{3F84E826-ADB0-4DE0-BA99-F21E8FCE1044}" dt="2024-01-25T16:09:40.105" v="1201" actId="1038"/>
          <ac:picMkLst>
            <pc:docMk/>
            <pc:sldMk cId="2445296865" sldId="2147474031"/>
            <ac:picMk id="8" creationId="{FF4BA029-1D9E-2627-132E-098C4A68C510}"/>
          </ac:picMkLst>
        </pc:picChg>
      </pc:sldChg>
      <pc:sldChg chg="addSp delSp modSp new mod">
        <pc:chgData name="Zhan, Yao" userId="37b612df-86ed-4d30-8716-76c92ac1c591" providerId="ADAL" clId="{3F84E826-ADB0-4DE0-BA99-F21E8FCE1044}" dt="2024-02-01T20:53:46.208" v="1437" actId="1036"/>
        <pc:sldMkLst>
          <pc:docMk/>
          <pc:sldMk cId="4048274760" sldId="2147474032"/>
        </pc:sldMkLst>
        <pc:spChg chg="del">
          <ac:chgData name="Zhan, Yao" userId="37b612df-86ed-4d30-8716-76c92ac1c591" providerId="ADAL" clId="{3F84E826-ADB0-4DE0-BA99-F21E8FCE1044}" dt="2024-01-16T20:56:37.675" v="944" actId="478"/>
          <ac:spMkLst>
            <pc:docMk/>
            <pc:sldMk cId="4048274760" sldId="2147474032"/>
            <ac:spMk id="2" creationId="{9845277B-391A-676E-C7EE-757609449068}"/>
          </ac:spMkLst>
        </pc:spChg>
        <pc:spChg chg="mod">
          <ac:chgData name="Zhan, Yao" userId="37b612df-86ed-4d30-8716-76c92ac1c591" providerId="ADAL" clId="{3F84E826-ADB0-4DE0-BA99-F21E8FCE1044}" dt="2024-02-01T20:53:46.208" v="1437" actId="1036"/>
          <ac:spMkLst>
            <pc:docMk/>
            <pc:sldMk cId="4048274760" sldId="2147474032"/>
            <ac:spMk id="4" creationId="{8764E997-9B67-88DD-659C-5B4F07BD4774}"/>
          </ac:spMkLst>
        </pc:spChg>
        <pc:spChg chg="add del">
          <ac:chgData name="Zhan, Yao" userId="37b612df-86ed-4d30-8716-76c92ac1c591" providerId="ADAL" clId="{3F84E826-ADB0-4DE0-BA99-F21E8FCE1044}" dt="2024-01-16T20:59:13.390" v="1090" actId="478"/>
          <ac:spMkLst>
            <pc:docMk/>
            <pc:sldMk cId="4048274760" sldId="2147474032"/>
            <ac:spMk id="9" creationId="{3EAB61D1-E0DE-C0FB-C987-461C107DDFAB}"/>
          </ac:spMkLst>
        </pc:spChg>
        <pc:spChg chg="add mod">
          <ac:chgData name="Zhan, Yao" userId="37b612df-86ed-4d30-8716-76c92ac1c591" providerId="ADAL" clId="{3F84E826-ADB0-4DE0-BA99-F21E8FCE1044}" dt="2024-02-01T20:52:51.708" v="1423" actId="1076"/>
          <ac:spMkLst>
            <pc:docMk/>
            <pc:sldMk cId="4048274760" sldId="2147474032"/>
            <ac:spMk id="10" creationId="{7E0F0F36-4413-B41D-09D0-EC8D03C72CC8}"/>
          </ac:spMkLst>
        </pc:spChg>
        <pc:spChg chg="add del mod">
          <ac:chgData name="Zhan, Yao" userId="37b612df-86ed-4d30-8716-76c92ac1c591" providerId="ADAL" clId="{3F84E826-ADB0-4DE0-BA99-F21E8FCE1044}" dt="2024-01-16T20:58:21.644" v="1030"/>
          <ac:spMkLst>
            <pc:docMk/>
            <pc:sldMk cId="4048274760" sldId="2147474032"/>
            <ac:spMk id="11" creationId="{B55A2A70-7365-8661-2F81-02A6F5E8412F}"/>
          </ac:spMkLst>
        </pc:spChg>
        <pc:picChg chg="add mod">
          <ac:chgData name="Zhan, Yao" userId="37b612df-86ed-4d30-8716-76c92ac1c591" providerId="ADAL" clId="{3F84E826-ADB0-4DE0-BA99-F21E8FCE1044}" dt="2024-01-25T16:09:49.518" v="1203" actId="1076"/>
          <ac:picMkLst>
            <pc:docMk/>
            <pc:sldMk cId="4048274760" sldId="2147474032"/>
            <ac:picMk id="7" creationId="{6CDCF8A6-2A68-3DA2-F162-6F547A706F28}"/>
          </ac:picMkLst>
        </pc:picChg>
      </pc:sldChg>
      <pc:sldChg chg="addSp delSp modSp new mod">
        <pc:chgData name="Zhan, Yao" userId="37b612df-86ed-4d30-8716-76c92ac1c591" providerId="ADAL" clId="{3F84E826-ADB0-4DE0-BA99-F21E8FCE1044}" dt="2024-01-25T16:14:04.199" v="1283" actId="20577"/>
        <pc:sldMkLst>
          <pc:docMk/>
          <pc:sldMk cId="2969239757" sldId="2147474033"/>
        </pc:sldMkLst>
        <pc:spChg chg="del">
          <ac:chgData name="Zhan, Yao" userId="37b612df-86ed-4d30-8716-76c92ac1c591" providerId="ADAL" clId="{3F84E826-ADB0-4DE0-BA99-F21E8FCE1044}" dt="2024-01-25T16:06:34.037" v="1164" actId="478"/>
          <ac:spMkLst>
            <pc:docMk/>
            <pc:sldMk cId="2969239757" sldId="2147474033"/>
            <ac:spMk id="2" creationId="{0EB70A81-7D50-73DC-69B4-D30DE532B24D}"/>
          </ac:spMkLst>
        </pc:spChg>
        <pc:spChg chg="mod">
          <ac:chgData name="Zhan, Yao" userId="37b612df-86ed-4d30-8716-76c92ac1c591" providerId="ADAL" clId="{3F84E826-ADB0-4DE0-BA99-F21E8FCE1044}" dt="2024-01-25T16:10:13.761" v="1233" actId="20577"/>
          <ac:spMkLst>
            <pc:docMk/>
            <pc:sldMk cId="2969239757" sldId="2147474033"/>
            <ac:spMk id="4" creationId="{EEA7FC13-6592-D8E5-4840-8B200453F969}"/>
          </ac:spMkLst>
        </pc:spChg>
        <pc:graphicFrameChg chg="add mod modGraphic">
          <ac:chgData name="Zhan, Yao" userId="37b612df-86ed-4d30-8716-76c92ac1c591" providerId="ADAL" clId="{3F84E826-ADB0-4DE0-BA99-F21E8FCE1044}" dt="2024-01-25T16:14:04.199" v="1283" actId="20577"/>
          <ac:graphicFrameMkLst>
            <pc:docMk/>
            <pc:sldMk cId="2969239757" sldId="2147474033"/>
            <ac:graphicFrameMk id="8" creationId="{EA09EE8A-4D47-3E61-878F-2C3314FFEC23}"/>
          </ac:graphicFrameMkLst>
        </pc:graphicFrameChg>
        <pc:picChg chg="add del">
          <ac:chgData name="Zhan, Yao" userId="37b612df-86ed-4d30-8716-76c92ac1c591" providerId="ADAL" clId="{3F84E826-ADB0-4DE0-BA99-F21E8FCE1044}" dt="2024-01-25T16:06:44.738" v="1166" actId="478"/>
          <ac:picMkLst>
            <pc:docMk/>
            <pc:sldMk cId="2969239757" sldId="2147474033"/>
            <ac:picMk id="7" creationId="{E96EC88C-3D70-D898-0D55-33AF39A9FAC9}"/>
          </ac:picMkLst>
        </pc:picChg>
      </pc:sldChg>
      <pc:sldChg chg="new">
        <pc:chgData name="Zhan, Yao" userId="37b612df-86ed-4d30-8716-76c92ac1c591" providerId="ADAL" clId="{3F84E826-ADB0-4DE0-BA99-F21E8FCE1044}" dt="2024-01-25T16:43:53.277" v="1284" actId="680"/>
        <pc:sldMkLst>
          <pc:docMk/>
          <pc:sldMk cId="442370221" sldId="2147474034"/>
        </pc:sldMkLst>
      </pc:sldChg>
      <pc:sldChg chg="addSp delSp modSp mod">
        <pc:chgData name="Zhan, Yao" userId="37b612df-86ed-4d30-8716-76c92ac1c591" providerId="ADAL" clId="{3F84E826-ADB0-4DE0-BA99-F21E8FCE1044}" dt="2024-02-09T17:29:05.796" v="2397" actId="27636"/>
        <pc:sldMkLst>
          <pc:docMk/>
          <pc:sldMk cId="3310900309" sldId="2147474035"/>
        </pc:sldMkLst>
        <pc:spChg chg="add mod">
          <ac:chgData name="Zhan, Yao" userId="37b612df-86ed-4d30-8716-76c92ac1c591" providerId="ADAL" clId="{3F84E826-ADB0-4DE0-BA99-F21E8FCE1044}" dt="2024-02-09T17:29:05.796" v="2397" actId="27636"/>
          <ac:spMkLst>
            <pc:docMk/>
            <pc:sldMk cId="3310900309" sldId="2147474035"/>
            <ac:spMk id="2" creationId="{9665DB11-30C3-08BA-1135-1C4D64ACE076}"/>
          </ac:spMkLst>
        </pc:spChg>
        <pc:spChg chg="del">
          <ac:chgData name="Zhan, Yao" userId="37b612df-86ed-4d30-8716-76c92ac1c591" providerId="ADAL" clId="{3F84E826-ADB0-4DE0-BA99-F21E8FCE1044}" dt="2024-02-09T17:29:05.666" v="2396"/>
          <ac:spMkLst>
            <pc:docMk/>
            <pc:sldMk cId="3310900309" sldId="2147474035"/>
            <ac:spMk id="4" creationId="{DD0CBB10-A173-61E7-020C-0F4D61179E94}"/>
          </ac:spMkLst>
        </pc:spChg>
      </pc:sldChg>
      <pc:sldChg chg="del">
        <pc:chgData name="Zhan, Yao" userId="37b612df-86ed-4d30-8716-76c92ac1c591" providerId="ADAL" clId="{3F84E826-ADB0-4DE0-BA99-F21E8FCE1044}" dt="2024-02-09T17:30:32.184" v="2464" actId="47"/>
        <pc:sldMkLst>
          <pc:docMk/>
          <pc:sldMk cId="838055334" sldId="2147474036"/>
        </pc:sldMkLst>
      </pc:sldChg>
      <pc:sldChg chg="del">
        <pc:chgData name="Zhan, Yao" userId="37b612df-86ed-4d30-8716-76c92ac1c591" providerId="ADAL" clId="{3F84E826-ADB0-4DE0-BA99-F21E8FCE1044}" dt="2024-02-09T17:30:32.956" v="2465" actId="47"/>
        <pc:sldMkLst>
          <pc:docMk/>
          <pc:sldMk cId="1975933226" sldId="2147474037"/>
        </pc:sldMkLst>
      </pc:sldChg>
      <pc:sldChg chg="addSp delSp modSp mod delAnim modAnim">
        <pc:chgData name="Zhan, Yao" userId="37b612df-86ed-4d30-8716-76c92ac1c591" providerId="ADAL" clId="{3F84E826-ADB0-4DE0-BA99-F21E8FCE1044}" dt="2024-02-09T17:32:08.228" v="2571" actId="255"/>
        <pc:sldMkLst>
          <pc:docMk/>
          <pc:sldMk cId="3396917590" sldId="2147474038"/>
        </pc:sldMkLst>
        <pc:spChg chg="mod">
          <ac:chgData name="Zhan, Yao" userId="37b612df-86ed-4d30-8716-76c92ac1c591" providerId="ADAL" clId="{3F84E826-ADB0-4DE0-BA99-F21E8FCE1044}" dt="2024-02-09T17:32:08.228" v="2571" actId="255"/>
          <ac:spMkLst>
            <pc:docMk/>
            <pc:sldMk cId="3396917590" sldId="2147474038"/>
            <ac:spMk id="6" creationId="{E25062A8-3F0B-2799-B991-71251969503E}"/>
          </ac:spMkLst>
        </pc:spChg>
        <pc:picChg chg="add mod ord">
          <ac:chgData name="Zhan, Yao" userId="37b612df-86ed-4d30-8716-76c92ac1c591" providerId="ADAL" clId="{3F84E826-ADB0-4DE0-BA99-F21E8FCE1044}" dt="2024-02-07T21:01:14.238" v="1830" actId="167"/>
          <ac:picMkLst>
            <pc:docMk/>
            <pc:sldMk cId="3396917590" sldId="2147474038"/>
            <ac:picMk id="2" creationId="{D864A0BF-9E1F-E7B7-89EF-D38E078ED073}"/>
          </ac:picMkLst>
        </pc:picChg>
        <pc:picChg chg="del">
          <ac:chgData name="Zhan, Yao" userId="37b612df-86ed-4d30-8716-76c92ac1c591" providerId="ADAL" clId="{3F84E826-ADB0-4DE0-BA99-F21E8FCE1044}" dt="2024-02-07T21:25:05.651" v="1843" actId="478"/>
          <ac:picMkLst>
            <pc:docMk/>
            <pc:sldMk cId="3396917590" sldId="2147474038"/>
            <ac:picMk id="3" creationId="{802A21A0-A8AF-8737-2539-8D3B271F8210}"/>
          </ac:picMkLst>
        </pc:picChg>
        <pc:picChg chg="add del">
          <ac:chgData name="Zhan, Yao" userId="37b612df-86ed-4d30-8716-76c92ac1c591" providerId="ADAL" clId="{3F84E826-ADB0-4DE0-BA99-F21E8FCE1044}" dt="2024-02-01T19:19:51.299" v="1302" actId="478"/>
          <ac:picMkLst>
            <pc:docMk/>
            <pc:sldMk cId="3396917590" sldId="2147474038"/>
            <ac:picMk id="4" creationId="{5C7C7C67-76C7-8DF6-8ECB-6C7C352530A8}"/>
          </ac:picMkLst>
        </pc:picChg>
        <pc:picChg chg="add mod ord">
          <ac:chgData name="Zhan, Yao" userId="37b612df-86ed-4d30-8716-76c92ac1c591" providerId="ADAL" clId="{3F84E826-ADB0-4DE0-BA99-F21E8FCE1044}" dt="2024-02-07T21:39:27.402" v="1858" actId="1076"/>
          <ac:picMkLst>
            <pc:docMk/>
            <pc:sldMk cId="3396917590" sldId="2147474038"/>
            <ac:picMk id="4" creationId="{CC3D6F2D-C7EF-B411-E1FF-A09E6B927299}"/>
          </ac:picMkLst>
        </pc:picChg>
        <pc:picChg chg="del">
          <ac:chgData name="Zhan, Yao" userId="37b612df-86ed-4d30-8716-76c92ac1c591" providerId="ADAL" clId="{3F84E826-ADB0-4DE0-BA99-F21E8FCE1044}" dt="2024-02-07T21:00:33.605" v="1825" actId="478"/>
          <ac:picMkLst>
            <pc:docMk/>
            <pc:sldMk cId="3396917590" sldId="2147474038"/>
            <ac:picMk id="5" creationId="{710303CE-F2A6-0DE7-5820-BD3E6CE516EC}"/>
          </ac:picMkLst>
        </pc:picChg>
        <pc:picChg chg="del">
          <ac:chgData name="Zhan, Yao" userId="37b612df-86ed-4d30-8716-76c92ac1c591" providerId="ADAL" clId="{3F84E826-ADB0-4DE0-BA99-F21E8FCE1044}" dt="2024-02-07T21:01:57.913" v="1832" actId="478"/>
          <ac:picMkLst>
            <pc:docMk/>
            <pc:sldMk cId="3396917590" sldId="2147474038"/>
            <ac:picMk id="8" creationId="{E8A6EF08-60D5-FA83-2C31-D84BBB0DCA58}"/>
          </ac:picMkLst>
        </pc:picChg>
        <pc:picChg chg="add del mod">
          <ac:chgData name="Zhan, Yao" userId="37b612df-86ed-4d30-8716-76c92ac1c591" providerId="ADAL" clId="{3F84E826-ADB0-4DE0-BA99-F21E8FCE1044}" dt="2024-02-07T21:38:15.601" v="1847" actId="478"/>
          <ac:picMkLst>
            <pc:docMk/>
            <pc:sldMk cId="3396917590" sldId="2147474038"/>
            <ac:picMk id="11" creationId="{8032AC98-20D0-EB30-9715-645E2F373CAC}"/>
          </ac:picMkLst>
        </pc:picChg>
        <pc:picChg chg="add del mod">
          <ac:chgData name="Zhan, Yao" userId="37b612df-86ed-4d30-8716-76c92ac1c591" providerId="ADAL" clId="{3F84E826-ADB0-4DE0-BA99-F21E8FCE1044}" dt="2024-02-07T21:38:33.542" v="1853" actId="478"/>
          <ac:picMkLst>
            <pc:docMk/>
            <pc:sldMk cId="3396917590" sldId="2147474038"/>
            <ac:picMk id="13" creationId="{F93F2F65-DE70-ECDC-67E9-169DCD66A040}"/>
          </ac:picMkLst>
        </pc:picChg>
        <pc:picChg chg="add mod ord">
          <ac:chgData name="Zhan, Yao" userId="37b612df-86ed-4d30-8716-76c92ac1c591" providerId="ADAL" clId="{3F84E826-ADB0-4DE0-BA99-F21E8FCE1044}" dt="2024-02-07T21:40:06.784" v="1861" actId="166"/>
          <ac:picMkLst>
            <pc:docMk/>
            <pc:sldMk cId="3396917590" sldId="2147474038"/>
            <ac:picMk id="14" creationId="{E02EEC17-383B-BBB5-D127-382F3A57E96E}"/>
          </ac:picMkLst>
        </pc:picChg>
      </pc:sldChg>
      <pc:sldChg chg="addSp delSp modSp del mod">
        <pc:chgData name="Zhan, Yao" userId="37b612df-86ed-4d30-8716-76c92ac1c591" providerId="ADAL" clId="{3F84E826-ADB0-4DE0-BA99-F21E8FCE1044}" dt="2024-02-08T16:43:42.102" v="1964" actId="47"/>
        <pc:sldMkLst>
          <pc:docMk/>
          <pc:sldMk cId="1884246265" sldId="2147474039"/>
        </pc:sldMkLst>
        <pc:spChg chg="mod">
          <ac:chgData name="Zhan, Yao" userId="37b612df-86ed-4d30-8716-76c92ac1c591" providerId="ADAL" clId="{3F84E826-ADB0-4DE0-BA99-F21E8FCE1044}" dt="2024-02-01T20:46:58.762" v="1331" actId="20577"/>
          <ac:spMkLst>
            <pc:docMk/>
            <pc:sldMk cId="1884246265" sldId="2147474039"/>
            <ac:spMk id="4" creationId="{2FCA1A98-DA77-54FF-1D9F-B009526359A4}"/>
          </ac:spMkLst>
        </pc:spChg>
        <pc:picChg chg="add del mod">
          <ac:chgData name="Zhan, Yao" userId="37b612df-86ed-4d30-8716-76c92ac1c591" providerId="ADAL" clId="{3F84E826-ADB0-4DE0-BA99-F21E8FCE1044}" dt="2024-02-01T20:46:13.196" v="1320" actId="478"/>
          <ac:picMkLst>
            <pc:docMk/>
            <pc:sldMk cId="1884246265" sldId="2147474039"/>
            <ac:picMk id="2" creationId="{898C496C-C375-D072-52DF-69B3C9F9DEFE}"/>
          </ac:picMkLst>
        </pc:picChg>
        <pc:picChg chg="add mod">
          <ac:chgData name="Zhan, Yao" userId="37b612df-86ed-4d30-8716-76c92ac1c591" providerId="ADAL" clId="{3F84E826-ADB0-4DE0-BA99-F21E8FCE1044}" dt="2024-02-01T20:46:27.605" v="1325" actId="1076"/>
          <ac:picMkLst>
            <pc:docMk/>
            <pc:sldMk cId="1884246265" sldId="2147474039"/>
            <ac:picMk id="7" creationId="{D01CAF23-F8A2-062C-D834-7211FF5832CA}"/>
          </ac:picMkLst>
        </pc:picChg>
        <pc:picChg chg="del">
          <ac:chgData name="Zhan, Yao" userId="37b612df-86ed-4d30-8716-76c92ac1c591" providerId="ADAL" clId="{3F84E826-ADB0-4DE0-BA99-F21E8FCE1044}" dt="2024-02-01T20:23:11.353" v="1309" actId="478"/>
          <ac:picMkLst>
            <pc:docMk/>
            <pc:sldMk cId="1884246265" sldId="2147474039"/>
            <ac:picMk id="9" creationId="{E4341AD7-F81C-AACB-B85C-109EB997BDC9}"/>
          </ac:picMkLst>
        </pc:picChg>
      </pc:sldChg>
      <pc:sldChg chg="del">
        <pc:chgData name="Zhan, Yao" userId="37b612df-86ed-4d30-8716-76c92ac1c591" providerId="ADAL" clId="{3F84E826-ADB0-4DE0-BA99-F21E8FCE1044}" dt="2024-02-02T20:39:22.539" v="1688" actId="47"/>
        <pc:sldMkLst>
          <pc:docMk/>
          <pc:sldMk cId="2595594999" sldId="2147474040"/>
        </pc:sldMkLst>
      </pc:sldChg>
      <pc:sldChg chg="delSp modSp mod ord">
        <pc:chgData name="Zhan, Yao" userId="37b612df-86ed-4d30-8716-76c92ac1c591" providerId="ADAL" clId="{3F84E826-ADB0-4DE0-BA99-F21E8FCE1044}" dt="2024-02-02T21:19:14.024" v="1757" actId="478"/>
        <pc:sldMkLst>
          <pc:docMk/>
          <pc:sldMk cId="3437454793" sldId="2147474041"/>
        </pc:sldMkLst>
        <pc:spChg chg="mod">
          <ac:chgData name="Zhan, Yao" userId="37b612df-86ed-4d30-8716-76c92ac1c591" providerId="ADAL" clId="{3F84E826-ADB0-4DE0-BA99-F21E8FCE1044}" dt="2024-02-01T20:56:23.943" v="1470" actId="1076"/>
          <ac:spMkLst>
            <pc:docMk/>
            <pc:sldMk cId="3437454793" sldId="2147474041"/>
            <ac:spMk id="4" creationId="{8764E997-9B67-88DD-659C-5B4F07BD4774}"/>
          </ac:spMkLst>
        </pc:spChg>
        <pc:picChg chg="del">
          <ac:chgData name="Zhan, Yao" userId="37b612df-86ed-4d30-8716-76c92ac1c591" providerId="ADAL" clId="{3F84E826-ADB0-4DE0-BA99-F21E8FCE1044}" dt="2024-02-02T21:19:14.024" v="1757" actId="478"/>
          <ac:picMkLst>
            <pc:docMk/>
            <pc:sldMk cId="3437454793" sldId="2147474041"/>
            <ac:picMk id="7" creationId="{6CDCF8A6-2A68-3DA2-F162-6F547A706F28}"/>
          </ac:picMkLst>
        </pc:picChg>
      </pc:sldChg>
      <pc:sldChg chg="addSp delSp modSp new del mod">
        <pc:chgData name="Zhan, Yao" userId="37b612df-86ed-4d30-8716-76c92ac1c591" providerId="ADAL" clId="{3F84E826-ADB0-4DE0-BA99-F21E8FCE1044}" dt="2024-02-08T16:43:38.634" v="1961" actId="47"/>
        <pc:sldMkLst>
          <pc:docMk/>
          <pc:sldMk cId="1394340620" sldId="2147474042"/>
        </pc:sldMkLst>
        <pc:spChg chg="del">
          <ac:chgData name="Zhan, Yao" userId="37b612df-86ed-4d30-8716-76c92ac1c591" providerId="ADAL" clId="{3F84E826-ADB0-4DE0-BA99-F21E8FCE1044}" dt="2024-01-29T16:47:20.395" v="1286" actId="478"/>
          <ac:spMkLst>
            <pc:docMk/>
            <pc:sldMk cId="1394340620" sldId="2147474042"/>
            <ac:spMk id="2" creationId="{57F75F1E-A897-7655-4DF1-1FA1CE834AAF}"/>
          </ac:spMkLst>
        </pc:spChg>
        <pc:spChg chg="del">
          <ac:chgData name="Zhan, Yao" userId="37b612df-86ed-4d30-8716-76c92ac1c591" providerId="ADAL" clId="{3F84E826-ADB0-4DE0-BA99-F21E8FCE1044}" dt="2024-02-01T20:51:58.388" v="1405"/>
          <ac:spMkLst>
            <pc:docMk/>
            <pc:sldMk cId="1394340620" sldId="2147474042"/>
            <ac:spMk id="4" creationId="{93FF710A-F64D-FD3D-614C-E38E68F6414D}"/>
          </ac:spMkLst>
        </pc:spChg>
        <pc:spChg chg="add mod">
          <ac:chgData name="Zhan, Yao" userId="37b612df-86ed-4d30-8716-76c92ac1c591" providerId="ADAL" clId="{3F84E826-ADB0-4DE0-BA99-F21E8FCE1044}" dt="2024-02-01T20:52:14.716" v="1422" actId="1035"/>
          <ac:spMkLst>
            <pc:docMk/>
            <pc:sldMk cId="1394340620" sldId="2147474042"/>
            <ac:spMk id="7" creationId="{015BE8EE-FA55-D7D6-DA15-FF01AC9D2345}"/>
          </ac:spMkLst>
        </pc:spChg>
        <pc:picChg chg="add mod">
          <ac:chgData name="Zhan, Yao" userId="37b612df-86ed-4d30-8716-76c92ac1c591" providerId="ADAL" clId="{3F84E826-ADB0-4DE0-BA99-F21E8FCE1044}" dt="2024-02-01T20:51:49.917" v="1404" actId="1076"/>
          <ac:picMkLst>
            <pc:docMk/>
            <pc:sldMk cId="1394340620" sldId="2147474042"/>
            <ac:picMk id="2" creationId="{A31F0FFC-4CC9-5D7C-6A70-9862E87301F5}"/>
          </ac:picMkLst>
        </pc:picChg>
        <pc:picChg chg="add del mod">
          <ac:chgData name="Zhan, Yao" userId="37b612df-86ed-4d30-8716-76c92ac1c591" providerId="ADAL" clId="{3F84E826-ADB0-4DE0-BA99-F21E8FCE1044}" dt="2024-01-29T16:47:31.024" v="1291" actId="478"/>
          <ac:picMkLst>
            <pc:docMk/>
            <pc:sldMk cId="1394340620" sldId="2147474042"/>
            <ac:picMk id="7" creationId="{5418FC6D-BDA2-0B62-ADA9-97E721A95AF9}"/>
          </ac:picMkLst>
        </pc:picChg>
        <pc:picChg chg="add del mod">
          <ac:chgData name="Zhan, Yao" userId="37b612df-86ed-4d30-8716-76c92ac1c591" providerId="ADAL" clId="{3F84E826-ADB0-4DE0-BA99-F21E8FCE1044}" dt="2024-01-29T17:18:43.926" v="1295" actId="478"/>
          <ac:picMkLst>
            <pc:docMk/>
            <pc:sldMk cId="1394340620" sldId="2147474042"/>
            <ac:picMk id="8" creationId="{38645C53-427F-8C4B-3FD7-934F84E87D63}"/>
          </ac:picMkLst>
        </pc:picChg>
        <pc:picChg chg="add del mod">
          <ac:chgData name="Zhan, Yao" userId="37b612df-86ed-4d30-8716-76c92ac1c591" providerId="ADAL" clId="{3F84E826-ADB0-4DE0-BA99-F21E8FCE1044}" dt="2024-02-01T20:22:42.136" v="1303" actId="478"/>
          <ac:picMkLst>
            <pc:docMk/>
            <pc:sldMk cId="1394340620" sldId="2147474042"/>
            <ac:picMk id="9" creationId="{5AD8902E-D971-F9B1-90C4-797FBB87B3ED}"/>
          </ac:picMkLst>
        </pc:picChg>
      </pc:sldChg>
      <pc:sldChg chg="delSp new del mod">
        <pc:chgData name="Zhan, Yao" userId="37b612df-86ed-4d30-8716-76c92ac1c591" providerId="ADAL" clId="{3F84E826-ADB0-4DE0-BA99-F21E8FCE1044}" dt="2024-02-01T20:54:58.951" v="1440" actId="47"/>
        <pc:sldMkLst>
          <pc:docMk/>
          <pc:sldMk cId="1917339472" sldId="2147474043"/>
        </pc:sldMkLst>
        <pc:spChg chg="del">
          <ac:chgData name="Zhan, Yao" userId="37b612df-86ed-4d30-8716-76c92ac1c591" providerId="ADAL" clId="{3F84E826-ADB0-4DE0-BA99-F21E8FCE1044}" dt="2024-01-29T17:18:56.562" v="1300" actId="478"/>
          <ac:spMkLst>
            <pc:docMk/>
            <pc:sldMk cId="1917339472" sldId="2147474043"/>
            <ac:spMk id="2" creationId="{A642397D-DE38-4DFF-4C4D-60468D7CA150}"/>
          </ac:spMkLst>
        </pc:spChg>
      </pc:sldChg>
      <pc:sldChg chg="addSp delSp new del mod">
        <pc:chgData name="Zhan, Yao" userId="37b612df-86ed-4d30-8716-76c92ac1c591" providerId="ADAL" clId="{3F84E826-ADB0-4DE0-BA99-F21E8FCE1044}" dt="2024-02-01T20:23:07.609" v="1308" actId="47"/>
        <pc:sldMkLst>
          <pc:docMk/>
          <pc:sldMk cId="1222446948" sldId="2147474044"/>
        </pc:sldMkLst>
        <pc:spChg chg="del">
          <ac:chgData name="Zhan, Yao" userId="37b612df-86ed-4d30-8716-76c92ac1c591" providerId="ADAL" clId="{3F84E826-ADB0-4DE0-BA99-F21E8FCE1044}" dt="2024-02-01T20:22:58.414" v="1305" actId="478"/>
          <ac:spMkLst>
            <pc:docMk/>
            <pc:sldMk cId="1222446948" sldId="2147474044"/>
            <ac:spMk id="2" creationId="{6DB005B6-AEEB-5C21-8159-0C6417CC7330}"/>
          </ac:spMkLst>
        </pc:spChg>
        <pc:picChg chg="add del">
          <ac:chgData name="Zhan, Yao" userId="37b612df-86ed-4d30-8716-76c92ac1c591" providerId="ADAL" clId="{3F84E826-ADB0-4DE0-BA99-F21E8FCE1044}" dt="2024-02-01T20:23:05.459" v="1307"/>
          <ac:picMkLst>
            <pc:docMk/>
            <pc:sldMk cId="1222446948" sldId="2147474044"/>
            <ac:picMk id="7" creationId="{2B3AB36E-0CBA-08E1-62DB-3350CB68F2FA}"/>
          </ac:picMkLst>
        </pc:picChg>
      </pc:sldChg>
      <pc:sldChg chg="addSp delSp modSp add del mod">
        <pc:chgData name="Zhan, Yao" userId="37b612df-86ed-4d30-8716-76c92ac1c591" providerId="ADAL" clId="{3F84E826-ADB0-4DE0-BA99-F21E8FCE1044}" dt="2024-02-08T16:43:41.006" v="1962" actId="47"/>
        <pc:sldMkLst>
          <pc:docMk/>
          <pc:sldMk cId="3423407275" sldId="2147474044"/>
        </pc:sldMkLst>
        <pc:spChg chg="mod">
          <ac:chgData name="Zhan, Yao" userId="37b612df-86ed-4d30-8716-76c92ac1c591" providerId="ADAL" clId="{3F84E826-ADB0-4DE0-BA99-F21E8FCE1044}" dt="2024-02-01T20:49:17.821" v="1399" actId="14100"/>
          <ac:spMkLst>
            <pc:docMk/>
            <pc:sldMk cId="3423407275" sldId="2147474044"/>
            <ac:spMk id="4" creationId="{2FCA1A98-DA77-54FF-1D9F-B009526359A4}"/>
          </ac:spMkLst>
        </pc:spChg>
        <pc:picChg chg="del">
          <ac:chgData name="Zhan, Yao" userId="37b612df-86ed-4d30-8716-76c92ac1c591" providerId="ADAL" clId="{3F84E826-ADB0-4DE0-BA99-F21E8FCE1044}" dt="2024-02-01T20:23:33.740" v="1314" actId="478"/>
          <ac:picMkLst>
            <pc:docMk/>
            <pc:sldMk cId="3423407275" sldId="2147474044"/>
            <ac:picMk id="2" creationId="{898C496C-C375-D072-52DF-69B3C9F9DEFE}"/>
          </ac:picMkLst>
        </pc:picChg>
        <pc:picChg chg="add mod">
          <ac:chgData name="Zhan, Yao" userId="37b612df-86ed-4d30-8716-76c92ac1c591" providerId="ADAL" clId="{3F84E826-ADB0-4DE0-BA99-F21E8FCE1044}" dt="2024-02-01T20:44:52.726" v="1319" actId="1076"/>
          <ac:picMkLst>
            <pc:docMk/>
            <pc:sldMk cId="3423407275" sldId="2147474044"/>
            <ac:picMk id="7" creationId="{5F0492D3-B1B0-4FF0-94A0-2C2643B9B64A}"/>
          </ac:picMkLst>
        </pc:picChg>
      </pc:sldChg>
      <pc:sldChg chg="addSp delSp modSp add del mod">
        <pc:chgData name="Zhan, Yao" userId="37b612df-86ed-4d30-8716-76c92ac1c591" providerId="ADAL" clId="{3F84E826-ADB0-4DE0-BA99-F21E8FCE1044}" dt="2024-02-08T16:43:41.663" v="1963" actId="47"/>
        <pc:sldMkLst>
          <pc:docMk/>
          <pc:sldMk cId="3277545569" sldId="2147474045"/>
        </pc:sldMkLst>
        <pc:spChg chg="mod">
          <ac:chgData name="Zhan, Yao" userId="37b612df-86ed-4d30-8716-76c92ac1c591" providerId="ADAL" clId="{3F84E826-ADB0-4DE0-BA99-F21E8FCE1044}" dt="2024-02-01T20:48:57.062" v="1388" actId="1035"/>
          <ac:spMkLst>
            <pc:docMk/>
            <pc:sldMk cId="3277545569" sldId="2147474045"/>
            <ac:spMk id="8" creationId="{C40CA9DC-90B1-17A9-567F-5772408DB3B7}"/>
          </ac:spMkLst>
        </pc:spChg>
        <pc:picChg chg="add mod">
          <ac:chgData name="Zhan, Yao" userId="37b612df-86ed-4d30-8716-76c92ac1c591" providerId="ADAL" clId="{3F84E826-ADB0-4DE0-BA99-F21E8FCE1044}" dt="2024-02-01T20:48:48.914" v="1368" actId="14100"/>
          <ac:picMkLst>
            <pc:docMk/>
            <pc:sldMk cId="3277545569" sldId="2147474045"/>
            <ac:picMk id="2" creationId="{8DECD70A-CF05-AE8C-1FE6-CC0C6A366658}"/>
          </ac:picMkLst>
        </pc:picChg>
        <pc:picChg chg="del">
          <ac:chgData name="Zhan, Yao" userId="37b612df-86ed-4d30-8716-76c92ac1c591" providerId="ADAL" clId="{3F84E826-ADB0-4DE0-BA99-F21E8FCE1044}" dt="2024-02-01T20:48:35.838" v="1363" actId="478"/>
          <ac:picMkLst>
            <pc:docMk/>
            <pc:sldMk cId="3277545569" sldId="2147474045"/>
            <ac:picMk id="7" creationId="{5F0492D3-B1B0-4FF0-94A0-2C2643B9B64A}"/>
          </ac:picMkLst>
        </pc:picChg>
      </pc:sldChg>
      <pc:sldChg chg="addSp delSp modSp add mod">
        <pc:chgData name="Zhan, Yao" userId="37b612df-86ed-4d30-8716-76c92ac1c591" providerId="ADAL" clId="{3F84E826-ADB0-4DE0-BA99-F21E8FCE1044}" dt="2024-02-02T19:52:07.812" v="1495"/>
        <pc:sldMkLst>
          <pc:docMk/>
          <pc:sldMk cId="293915172" sldId="2147474046"/>
        </pc:sldMkLst>
        <pc:spChg chg="mod">
          <ac:chgData name="Zhan, Yao" userId="37b612df-86ed-4d30-8716-76c92ac1c591" providerId="ADAL" clId="{3F84E826-ADB0-4DE0-BA99-F21E8FCE1044}" dt="2024-02-02T19:51:39.790" v="1489" actId="20577"/>
          <ac:spMkLst>
            <pc:docMk/>
            <pc:sldMk cId="293915172" sldId="2147474046"/>
            <ac:spMk id="10" creationId="{2CC635BF-1157-07B8-6E92-D592E0F77229}"/>
          </ac:spMkLst>
        </pc:spChg>
        <pc:spChg chg="mod">
          <ac:chgData name="Zhan, Yao" userId="37b612df-86ed-4d30-8716-76c92ac1c591" providerId="ADAL" clId="{3F84E826-ADB0-4DE0-BA99-F21E8FCE1044}" dt="2024-02-02T19:51:48.910" v="1493" actId="20577"/>
          <ac:spMkLst>
            <pc:docMk/>
            <pc:sldMk cId="293915172" sldId="2147474046"/>
            <ac:spMk id="16" creationId="{13C8D921-EF35-085D-8E07-8E91676B3472}"/>
          </ac:spMkLst>
        </pc:spChg>
        <pc:graphicFrameChg chg="add del">
          <ac:chgData name="Zhan, Yao" userId="37b612df-86ed-4d30-8716-76c92ac1c591" providerId="ADAL" clId="{3F84E826-ADB0-4DE0-BA99-F21E8FCE1044}" dt="2024-02-02T19:52:07.812" v="1495"/>
          <ac:graphicFrameMkLst>
            <pc:docMk/>
            <pc:sldMk cId="293915172" sldId="2147474046"/>
            <ac:graphicFrameMk id="2" creationId="{1600C25A-6BB8-29F3-E212-3AF8044C4F95}"/>
          </ac:graphicFrameMkLst>
        </pc:graphicFrameChg>
      </pc:sldChg>
      <pc:sldChg chg="add">
        <pc:chgData name="Zhan, Yao" userId="37b612df-86ed-4d30-8716-76c92ac1c591" providerId="ADAL" clId="{3F84E826-ADB0-4DE0-BA99-F21E8FCE1044}" dt="2024-02-02T19:52:17.949" v="1496"/>
        <pc:sldMkLst>
          <pc:docMk/>
          <pc:sldMk cId="2986970286" sldId="2147474047"/>
        </pc:sldMkLst>
      </pc:sldChg>
      <pc:sldChg chg="addSp delSp modSp new mod">
        <pc:chgData name="Zhan, Yao" userId="37b612df-86ed-4d30-8716-76c92ac1c591" providerId="ADAL" clId="{3F84E826-ADB0-4DE0-BA99-F21E8FCE1044}" dt="2024-02-02T20:38:48.597" v="1639" actId="1076"/>
        <pc:sldMkLst>
          <pc:docMk/>
          <pc:sldMk cId="1347849860" sldId="2147474048"/>
        </pc:sldMkLst>
        <pc:spChg chg="del">
          <ac:chgData name="Zhan, Yao" userId="37b612df-86ed-4d30-8716-76c92ac1c591" providerId="ADAL" clId="{3F84E826-ADB0-4DE0-BA99-F21E8FCE1044}" dt="2024-02-02T20:00:51.275" v="1577" actId="478"/>
          <ac:spMkLst>
            <pc:docMk/>
            <pc:sldMk cId="1347849860" sldId="2147474048"/>
            <ac:spMk id="2" creationId="{008F04BC-5F50-AE5E-032E-616CE01F2CA7}"/>
          </ac:spMkLst>
        </pc:spChg>
        <pc:spChg chg="mod">
          <ac:chgData name="Zhan, Yao" userId="37b612df-86ed-4d30-8716-76c92ac1c591" providerId="ADAL" clId="{3F84E826-ADB0-4DE0-BA99-F21E8FCE1044}" dt="2024-02-02T20:38:48.597" v="1639" actId="1076"/>
          <ac:spMkLst>
            <pc:docMk/>
            <pc:sldMk cId="1347849860" sldId="2147474048"/>
            <ac:spMk id="4" creationId="{E891C70C-565B-B03D-B0D1-F53C86651752}"/>
          </ac:spMkLst>
        </pc:spChg>
        <pc:picChg chg="add mod">
          <ac:chgData name="Zhan, Yao" userId="37b612df-86ed-4d30-8716-76c92ac1c591" providerId="ADAL" clId="{3F84E826-ADB0-4DE0-BA99-F21E8FCE1044}" dt="2024-02-02T20:38:18.592" v="1633" actId="1076"/>
          <ac:picMkLst>
            <pc:docMk/>
            <pc:sldMk cId="1347849860" sldId="2147474048"/>
            <ac:picMk id="7" creationId="{EDBDE8AB-8501-7DB7-99A4-22F7F2BE97CF}"/>
          </ac:picMkLst>
        </pc:picChg>
        <pc:picChg chg="add mod">
          <ac:chgData name="Zhan, Yao" userId="37b612df-86ed-4d30-8716-76c92ac1c591" providerId="ADAL" clId="{3F84E826-ADB0-4DE0-BA99-F21E8FCE1044}" dt="2024-02-02T20:38:14.537" v="1632" actId="1076"/>
          <ac:picMkLst>
            <pc:docMk/>
            <pc:sldMk cId="1347849860" sldId="2147474048"/>
            <ac:picMk id="8" creationId="{7EE25D9E-060C-2ABA-BFEC-A7B556369DD6}"/>
          </ac:picMkLst>
        </pc:picChg>
        <pc:picChg chg="add mod">
          <ac:chgData name="Zhan, Yao" userId="37b612df-86ed-4d30-8716-76c92ac1c591" providerId="ADAL" clId="{3F84E826-ADB0-4DE0-BA99-F21E8FCE1044}" dt="2024-02-02T20:38:14.537" v="1632" actId="1076"/>
          <ac:picMkLst>
            <pc:docMk/>
            <pc:sldMk cId="1347849860" sldId="2147474048"/>
            <ac:picMk id="9" creationId="{AB49946C-9201-34DB-BC12-EF5EB17DB8AC}"/>
          </ac:picMkLst>
        </pc:picChg>
      </pc:sldChg>
      <pc:sldChg chg="addSp delSp modSp new mod">
        <pc:chgData name="Zhan, Yao" userId="37b612df-86ed-4d30-8716-76c92ac1c591" providerId="ADAL" clId="{3F84E826-ADB0-4DE0-BA99-F21E8FCE1044}" dt="2024-02-05T15:16:56.703" v="1759" actId="1076"/>
        <pc:sldMkLst>
          <pc:docMk/>
          <pc:sldMk cId="3694429707" sldId="2147474049"/>
        </pc:sldMkLst>
        <pc:spChg chg="del">
          <ac:chgData name="Zhan, Yao" userId="37b612df-86ed-4d30-8716-76c92ac1c591" providerId="ADAL" clId="{3F84E826-ADB0-4DE0-BA99-F21E8FCE1044}" dt="2024-02-02T20:32:49.599" v="1587" actId="478"/>
          <ac:spMkLst>
            <pc:docMk/>
            <pc:sldMk cId="3694429707" sldId="2147474049"/>
            <ac:spMk id="2" creationId="{6FAEB302-31AC-9C68-5475-1C35B2DA36E8}"/>
          </ac:spMkLst>
        </pc:spChg>
        <pc:spChg chg="del">
          <ac:chgData name="Zhan, Yao" userId="37b612df-86ed-4d30-8716-76c92ac1c591" providerId="ADAL" clId="{3F84E826-ADB0-4DE0-BA99-F21E8FCE1044}" dt="2024-02-02T20:38:52.222" v="1640"/>
          <ac:spMkLst>
            <pc:docMk/>
            <pc:sldMk cId="3694429707" sldId="2147474049"/>
            <ac:spMk id="4" creationId="{3AE93483-3BB9-0858-BB92-D2A5E2A42D6A}"/>
          </ac:spMkLst>
        </pc:spChg>
        <pc:spChg chg="add mod">
          <ac:chgData name="Zhan, Yao" userId="37b612df-86ed-4d30-8716-76c92ac1c591" providerId="ADAL" clId="{3F84E826-ADB0-4DE0-BA99-F21E8FCE1044}" dt="2024-02-02T20:39:12.482" v="1687" actId="14100"/>
          <ac:spMkLst>
            <pc:docMk/>
            <pc:sldMk cId="3694429707" sldId="2147474049"/>
            <ac:spMk id="11" creationId="{947DA260-0307-450D-3555-6BF3D862B5D9}"/>
          </ac:spMkLst>
        </pc:spChg>
        <pc:picChg chg="add mod">
          <ac:chgData name="Zhan, Yao" userId="37b612df-86ed-4d30-8716-76c92ac1c591" providerId="ADAL" clId="{3F84E826-ADB0-4DE0-BA99-F21E8FCE1044}" dt="2024-02-05T15:16:56.703" v="1759" actId="1076"/>
          <ac:picMkLst>
            <pc:docMk/>
            <pc:sldMk cId="3694429707" sldId="2147474049"/>
            <ac:picMk id="7" creationId="{3ED83675-D4AC-94F0-1572-169BC257986F}"/>
          </ac:picMkLst>
        </pc:picChg>
        <pc:picChg chg="add mod">
          <ac:chgData name="Zhan, Yao" userId="37b612df-86ed-4d30-8716-76c92ac1c591" providerId="ADAL" clId="{3F84E826-ADB0-4DE0-BA99-F21E8FCE1044}" dt="2024-02-05T15:16:56.703" v="1759" actId="1076"/>
          <ac:picMkLst>
            <pc:docMk/>
            <pc:sldMk cId="3694429707" sldId="2147474049"/>
            <ac:picMk id="8" creationId="{DC69B62F-0568-870C-B0D2-78179DC56192}"/>
          </ac:picMkLst>
        </pc:picChg>
        <pc:picChg chg="add del mod">
          <ac:chgData name="Zhan, Yao" userId="37b612df-86ed-4d30-8716-76c92ac1c591" providerId="ADAL" clId="{3F84E826-ADB0-4DE0-BA99-F21E8FCE1044}" dt="2024-02-02T20:36:01.580" v="1602" actId="478"/>
          <ac:picMkLst>
            <pc:docMk/>
            <pc:sldMk cId="3694429707" sldId="2147474049"/>
            <ac:picMk id="9" creationId="{E0E7B2F1-B4B5-B88C-8095-DAC271FB3AD3}"/>
          </ac:picMkLst>
        </pc:picChg>
        <pc:picChg chg="add del mod">
          <ac:chgData name="Zhan, Yao" userId="37b612df-86ed-4d30-8716-76c92ac1c591" providerId="ADAL" clId="{3F84E826-ADB0-4DE0-BA99-F21E8FCE1044}" dt="2024-02-02T20:38:27.198" v="1634" actId="478"/>
          <ac:picMkLst>
            <pc:docMk/>
            <pc:sldMk cId="3694429707" sldId="2147474049"/>
            <ac:picMk id="10" creationId="{8199A49A-3268-ED55-1283-3462FFC1E136}"/>
          </ac:picMkLst>
        </pc:picChg>
      </pc:sldChg>
      <pc:sldChg chg="addSp modSp add mod ord">
        <pc:chgData name="Zhan, Yao" userId="37b612df-86ed-4d30-8716-76c92ac1c591" providerId="ADAL" clId="{3F84E826-ADB0-4DE0-BA99-F21E8FCE1044}" dt="2024-02-08T18:48:52.731" v="2017" actId="1076"/>
        <pc:sldMkLst>
          <pc:docMk/>
          <pc:sldMk cId="3363254896" sldId="2147474050"/>
        </pc:sldMkLst>
        <pc:picChg chg="add mod">
          <ac:chgData name="Zhan, Yao" userId="37b612df-86ed-4d30-8716-76c92ac1c591" providerId="ADAL" clId="{3F84E826-ADB0-4DE0-BA99-F21E8FCE1044}" dt="2024-02-08T18:48:52.731" v="2017" actId="1076"/>
          <ac:picMkLst>
            <pc:docMk/>
            <pc:sldMk cId="3363254896" sldId="2147474050"/>
            <ac:picMk id="2" creationId="{19A32FB6-F48C-ED22-0338-AA153AD60B65}"/>
          </ac:picMkLst>
        </pc:picChg>
        <pc:picChg chg="mod">
          <ac:chgData name="Zhan, Yao" userId="37b612df-86ed-4d30-8716-76c92ac1c591" providerId="ADAL" clId="{3F84E826-ADB0-4DE0-BA99-F21E8FCE1044}" dt="2024-02-05T15:33:50.485" v="1763" actId="1076"/>
          <ac:picMkLst>
            <pc:docMk/>
            <pc:sldMk cId="3363254896" sldId="2147474050"/>
            <ac:picMk id="7" creationId="{6CDCF8A6-2A68-3DA2-F162-6F547A706F28}"/>
          </ac:picMkLst>
        </pc:picChg>
      </pc:sldChg>
      <pc:sldChg chg="addSp delSp modSp mod delAnim modAnim">
        <pc:chgData name="Zhan, Yao" userId="37b612df-86ed-4d30-8716-76c92ac1c591" providerId="ADAL" clId="{3F84E826-ADB0-4DE0-BA99-F21E8FCE1044}" dt="2024-02-09T17:30:22.289" v="2463" actId="255"/>
        <pc:sldMkLst>
          <pc:docMk/>
          <pc:sldMk cId="978004667" sldId="2147474051"/>
        </pc:sldMkLst>
        <pc:spChg chg="add mod">
          <ac:chgData name="Zhan, Yao" userId="37b612df-86ed-4d30-8716-76c92ac1c591" providerId="ADAL" clId="{3F84E826-ADB0-4DE0-BA99-F21E8FCE1044}" dt="2024-02-09T17:30:22.289" v="2463" actId="255"/>
          <ac:spMkLst>
            <pc:docMk/>
            <pc:sldMk cId="978004667" sldId="2147474051"/>
            <ac:spMk id="2" creationId="{3C1C4BC7-D26B-3223-53C8-91E5BFECA7B0}"/>
          </ac:spMkLst>
        </pc:spChg>
        <pc:spChg chg="del">
          <ac:chgData name="Zhan, Yao" userId="37b612df-86ed-4d30-8716-76c92ac1c591" providerId="ADAL" clId="{3F84E826-ADB0-4DE0-BA99-F21E8FCE1044}" dt="2024-02-09T17:29:22.964" v="2398"/>
          <ac:spMkLst>
            <pc:docMk/>
            <pc:sldMk cId="978004667" sldId="2147474051"/>
            <ac:spMk id="4" creationId="{838653DD-64B9-CDB0-3D51-B97443D8E95F}"/>
          </ac:spMkLst>
        </pc:spChg>
        <pc:picChg chg="del mod">
          <ac:chgData name="Zhan, Yao" userId="37b612df-86ed-4d30-8716-76c92ac1c591" providerId="ADAL" clId="{3F84E826-ADB0-4DE0-BA99-F21E8FCE1044}" dt="2024-02-07T19:16:18.924" v="1792" actId="478"/>
          <ac:picMkLst>
            <pc:docMk/>
            <pc:sldMk cId="978004667" sldId="2147474051"/>
            <ac:picMk id="2" creationId="{3C5051E3-7052-AE84-61B4-8A9FEF6A7830}"/>
          </ac:picMkLst>
        </pc:picChg>
        <pc:picChg chg="del">
          <ac:chgData name="Zhan, Yao" userId="37b612df-86ed-4d30-8716-76c92ac1c591" providerId="ADAL" clId="{3F84E826-ADB0-4DE0-BA99-F21E8FCE1044}" dt="2024-02-07T19:13:25.273" v="1773" actId="478"/>
          <ac:picMkLst>
            <pc:docMk/>
            <pc:sldMk cId="978004667" sldId="2147474051"/>
            <ac:picMk id="7" creationId="{E532CD4B-5C89-1260-2471-C6F8A31BE100}"/>
          </ac:picMkLst>
        </pc:picChg>
        <pc:picChg chg="add mod modCrop">
          <ac:chgData name="Zhan, Yao" userId="37b612df-86ed-4d30-8716-76c92ac1c591" providerId="ADAL" clId="{3F84E826-ADB0-4DE0-BA99-F21E8FCE1044}" dt="2024-02-07T19:14:12.415" v="1782" actId="1076"/>
          <ac:picMkLst>
            <pc:docMk/>
            <pc:sldMk cId="978004667" sldId="2147474051"/>
            <ac:picMk id="8" creationId="{E12E0537-1D1B-4FCF-A4AA-CBD9D1D8BDDC}"/>
          </ac:picMkLst>
        </pc:picChg>
        <pc:picChg chg="del">
          <ac:chgData name="Zhan, Yao" userId="37b612df-86ed-4d30-8716-76c92ac1c591" providerId="ADAL" clId="{3F84E826-ADB0-4DE0-BA99-F21E8FCE1044}" dt="2024-02-07T19:13:07.012" v="1767" actId="478"/>
          <ac:picMkLst>
            <pc:docMk/>
            <pc:sldMk cId="978004667" sldId="2147474051"/>
            <ac:picMk id="9" creationId="{99BCEB2B-0572-99F9-E812-FA0E8EE23BDC}"/>
          </ac:picMkLst>
        </pc:picChg>
        <pc:picChg chg="add mod modCrop">
          <ac:chgData name="Zhan, Yao" userId="37b612df-86ed-4d30-8716-76c92ac1c591" providerId="ADAL" clId="{3F84E826-ADB0-4DE0-BA99-F21E8FCE1044}" dt="2024-02-07T19:14:12.415" v="1782" actId="1076"/>
          <ac:picMkLst>
            <pc:docMk/>
            <pc:sldMk cId="978004667" sldId="2147474051"/>
            <ac:picMk id="10" creationId="{BA7D732B-3CFF-5E3A-4276-E2F366508DCC}"/>
          </ac:picMkLst>
        </pc:picChg>
        <pc:picChg chg="add mod">
          <ac:chgData name="Zhan, Yao" userId="37b612df-86ed-4d30-8716-76c92ac1c591" providerId="ADAL" clId="{3F84E826-ADB0-4DE0-BA99-F21E8FCE1044}" dt="2024-02-07T19:16:36.163" v="1797" actId="1076"/>
          <ac:picMkLst>
            <pc:docMk/>
            <pc:sldMk cId="978004667" sldId="2147474051"/>
            <ac:picMk id="11" creationId="{FD86CE91-9F0A-EBCC-2B92-64E3F21AB910}"/>
          </ac:picMkLst>
        </pc:picChg>
      </pc:sldChg>
      <pc:sldChg chg="modSp new del mod">
        <pc:chgData name="Zhan, Yao" userId="37b612df-86ed-4d30-8716-76c92ac1c591" providerId="ADAL" clId="{3F84E826-ADB0-4DE0-BA99-F21E8FCE1044}" dt="2024-02-02T21:37:55.643" v="1758" actId="47"/>
        <pc:sldMkLst>
          <pc:docMk/>
          <pc:sldMk cId="2558199083" sldId="2147474051"/>
        </pc:sldMkLst>
        <pc:spChg chg="mod">
          <ac:chgData name="Zhan, Yao" userId="37b612df-86ed-4d30-8716-76c92ac1c591" providerId="ADAL" clId="{3F84E826-ADB0-4DE0-BA99-F21E8FCE1044}" dt="2024-02-02T21:13:46.081" v="1754" actId="14100"/>
          <ac:spMkLst>
            <pc:docMk/>
            <pc:sldMk cId="2558199083" sldId="2147474051"/>
            <ac:spMk id="4" creationId="{7FB5393C-FCD8-6C04-F603-D88D8A98C058}"/>
          </ac:spMkLst>
        </pc:spChg>
      </pc:sldChg>
      <pc:sldChg chg="addSp delSp modSp mod">
        <pc:chgData name="Zhan, Yao" userId="37b612df-86ed-4d30-8716-76c92ac1c591" providerId="ADAL" clId="{3F84E826-ADB0-4DE0-BA99-F21E8FCE1044}" dt="2024-02-09T17:30:05.085" v="2462" actId="255"/>
        <pc:sldMkLst>
          <pc:docMk/>
          <pc:sldMk cId="3822735020" sldId="2147474052"/>
        </pc:sldMkLst>
        <pc:spChg chg="mod">
          <ac:chgData name="Zhan, Yao" userId="37b612df-86ed-4d30-8716-76c92ac1c591" providerId="ADAL" clId="{3F84E826-ADB0-4DE0-BA99-F21E8FCE1044}" dt="2024-02-09T17:30:05.085" v="2462" actId="255"/>
          <ac:spMkLst>
            <pc:docMk/>
            <pc:sldMk cId="3822735020" sldId="2147474052"/>
            <ac:spMk id="10" creationId="{A1993180-B502-4EB5-1EE7-0AE0E9158D76}"/>
          </ac:spMkLst>
        </pc:spChg>
        <pc:picChg chg="del">
          <ac:chgData name="Zhan, Yao" userId="37b612df-86ed-4d30-8716-76c92ac1c591" providerId="ADAL" clId="{3F84E826-ADB0-4DE0-BA99-F21E8FCE1044}" dt="2024-02-07T19:15:07.615" v="1784" actId="478"/>
          <ac:picMkLst>
            <pc:docMk/>
            <pc:sldMk cId="3822735020" sldId="2147474052"/>
            <ac:picMk id="3" creationId="{9C9FC359-9E1B-285B-D90E-398E0D0F6C1C}"/>
          </ac:picMkLst>
        </pc:picChg>
        <pc:picChg chg="add mod ord">
          <ac:chgData name="Zhan, Yao" userId="37b612df-86ed-4d30-8716-76c92ac1c591" providerId="ADAL" clId="{3F84E826-ADB0-4DE0-BA99-F21E8FCE1044}" dt="2024-02-07T19:15:27.733" v="1791" actId="1037"/>
          <ac:picMkLst>
            <pc:docMk/>
            <pc:sldMk cId="3822735020" sldId="2147474052"/>
            <ac:picMk id="6" creationId="{3F939C2E-2A2E-0E02-6DEB-B949A8B54E73}"/>
          </ac:picMkLst>
        </pc:picChg>
      </pc:sldChg>
      <pc:sldChg chg="addSp delSp modSp mod delAnim modAnim">
        <pc:chgData name="Zhan, Yao" userId="37b612df-86ed-4d30-8716-76c92ac1c591" providerId="ADAL" clId="{3F84E826-ADB0-4DE0-BA99-F21E8FCE1044}" dt="2024-02-09T17:31:53.788" v="2570" actId="20577"/>
        <pc:sldMkLst>
          <pc:docMk/>
          <pc:sldMk cId="458858796" sldId="2147474053"/>
        </pc:sldMkLst>
        <pc:spChg chg="add mod">
          <ac:chgData name="Zhan, Yao" userId="37b612df-86ed-4d30-8716-76c92ac1c591" providerId="ADAL" clId="{3F84E826-ADB0-4DE0-BA99-F21E8FCE1044}" dt="2024-02-09T17:31:53.788" v="2570" actId="20577"/>
          <ac:spMkLst>
            <pc:docMk/>
            <pc:sldMk cId="458858796" sldId="2147474053"/>
            <ac:spMk id="2" creationId="{BEF87F0C-6FE9-67BD-423A-6F0661469C73}"/>
          </ac:spMkLst>
        </pc:spChg>
        <pc:spChg chg="del">
          <ac:chgData name="Zhan, Yao" userId="37b612df-86ed-4d30-8716-76c92ac1c591" providerId="ADAL" clId="{3F84E826-ADB0-4DE0-BA99-F21E8FCE1044}" dt="2024-02-09T17:30:45.292" v="2466"/>
          <ac:spMkLst>
            <pc:docMk/>
            <pc:sldMk cId="458858796" sldId="2147474053"/>
            <ac:spMk id="4" creationId="{BFF72651-D945-516A-F2E1-DC9BCEF67F77}"/>
          </ac:spMkLst>
        </pc:spChg>
        <pc:picChg chg="del">
          <ac:chgData name="Zhan, Yao" userId="37b612df-86ed-4d30-8716-76c92ac1c591" providerId="ADAL" clId="{3F84E826-ADB0-4DE0-BA99-F21E8FCE1044}" dt="2024-02-07T19:37:37.542" v="1812" actId="478"/>
          <ac:picMkLst>
            <pc:docMk/>
            <pc:sldMk cId="458858796" sldId="2147474053"/>
            <ac:picMk id="2" creationId="{D3A48BD4-8EAD-A649-B6B7-815AB2FFEAD9}"/>
          </ac:picMkLst>
        </pc:picChg>
        <pc:picChg chg="add del mod">
          <ac:chgData name="Zhan, Yao" userId="37b612df-86ed-4d30-8716-76c92ac1c591" providerId="ADAL" clId="{3F84E826-ADB0-4DE0-BA99-F21E8FCE1044}" dt="2024-02-07T19:35:55.247" v="1805" actId="478"/>
          <ac:picMkLst>
            <pc:docMk/>
            <pc:sldMk cId="458858796" sldId="2147474053"/>
            <ac:picMk id="7" creationId="{4AC5AE2D-D2A1-3530-8638-1A5B4689956B}"/>
          </ac:picMkLst>
        </pc:picChg>
        <pc:picChg chg="del">
          <ac:chgData name="Zhan, Yao" userId="37b612df-86ed-4d30-8716-76c92ac1c591" providerId="ADAL" clId="{3F84E826-ADB0-4DE0-BA99-F21E8FCE1044}" dt="2024-02-07T19:21:06.745" v="1800" actId="478"/>
          <ac:picMkLst>
            <pc:docMk/>
            <pc:sldMk cId="458858796" sldId="2147474053"/>
            <ac:picMk id="8" creationId="{2DA75490-BF2D-8A20-47F3-900EA741BDD3}"/>
          </ac:picMkLst>
        </pc:picChg>
        <pc:picChg chg="del">
          <ac:chgData name="Zhan, Yao" userId="37b612df-86ed-4d30-8716-76c92ac1c591" providerId="ADAL" clId="{3F84E826-ADB0-4DE0-BA99-F21E8FCE1044}" dt="2024-02-07T19:38:29.765" v="1816" actId="478"/>
          <ac:picMkLst>
            <pc:docMk/>
            <pc:sldMk cId="458858796" sldId="2147474053"/>
            <ac:picMk id="9" creationId="{1CF39097-FC35-C6D3-F9F5-AE67EEC148B5}"/>
          </ac:picMkLst>
        </pc:picChg>
        <pc:picChg chg="add mod">
          <ac:chgData name="Zhan, Yao" userId="37b612df-86ed-4d30-8716-76c92ac1c591" providerId="ADAL" clId="{3F84E826-ADB0-4DE0-BA99-F21E8FCE1044}" dt="2024-02-07T19:36:55.141" v="1811" actId="1076"/>
          <ac:picMkLst>
            <pc:docMk/>
            <pc:sldMk cId="458858796" sldId="2147474053"/>
            <ac:picMk id="10" creationId="{BE796397-D377-DE64-4B3F-D27323E3D8AA}"/>
          </ac:picMkLst>
        </pc:picChg>
        <pc:picChg chg="add mod">
          <ac:chgData name="Zhan, Yao" userId="37b612df-86ed-4d30-8716-76c92ac1c591" providerId="ADAL" clId="{3F84E826-ADB0-4DE0-BA99-F21E8FCE1044}" dt="2024-02-07T19:37:54.438" v="1815" actId="1076"/>
          <ac:picMkLst>
            <pc:docMk/>
            <pc:sldMk cId="458858796" sldId="2147474053"/>
            <ac:picMk id="11" creationId="{57E7A62F-FE05-AB22-1B03-150325FBCBDC}"/>
          </ac:picMkLst>
        </pc:picChg>
        <pc:picChg chg="add mod">
          <ac:chgData name="Zhan, Yao" userId="37b612df-86ed-4d30-8716-76c92ac1c591" providerId="ADAL" clId="{3F84E826-ADB0-4DE0-BA99-F21E8FCE1044}" dt="2024-02-07T19:38:42.966" v="1819" actId="1076"/>
          <ac:picMkLst>
            <pc:docMk/>
            <pc:sldMk cId="458858796" sldId="2147474053"/>
            <ac:picMk id="12" creationId="{497BEAD5-F9F8-3A32-2261-7097ECE05058}"/>
          </ac:picMkLst>
        </pc:picChg>
      </pc:sldChg>
      <pc:sldChg chg="addSp delSp modSp add mod delAnim">
        <pc:chgData name="Zhan, Yao" userId="37b612df-86ed-4d30-8716-76c92ac1c591" providerId="ADAL" clId="{3F84E826-ADB0-4DE0-BA99-F21E8FCE1044}" dt="2024-02-09T17:48:15.459" v="3020" actId="255"/>
        <pc:sldMkLst>
          <pc:docMk/>
          <pc:sldMk cId="2524161809" sldId="2147474054"/>
        </pc:sldMkLst>
        <pc:spChg chg="mod">
          <ac:chgData name="Zhan, Yao" userId="37b612df-86ed-4d30-8716-76c92ac1c591" providerId="ADAL" clId="{3F84E826-ADB0-4DE0-BA99-F21E8FCE1044}" dt="2024-02-09T17:48:15.459" v="3020" actId="255"/>
          <ac:spMkLst>
            <pc:docMk/>
            <pc:sldMk cId="2524161809" sldId="2147474054"/>
            <ac:spMk id="6" creationId="{E25062A8-3F0B-2799-B991-71251969503E}"/>
          </ac:spMkLst>
        </pc:spChg>
        <pc:spChg chg="del">
          <ac:chgData name="Zhan, Yao" userId="37b612df-86ed-4d30-8716-76c92ac1c591" providerId="ADAL" clId="{3F84E826-ADB0-4DE0-BA99-F21E8FCE1044}" dt="2024-02-08T22:03:12.803" v="2340" actId="478"/>
          <ac:spMkLst>
            <pc:docMk/>
            <pc:sldMk cId="2524161809" sldId="2147474054"/>
            <ac:spMk id="9" creationId="{AC2EED57-8848-7427-234B-40FC4A490DB7}"/>
          </ac:spMkLst>
        </pc:spChg>
        <pc:spChg chg="del">
          <ac:chgData name="Zhan, Yao" userId="37b612df-86ed-4d30-8716-76c92ac1c591" providerId="ADAL" clId="{3F84E826-ADB0-4DE0-BA99-F21E8FCE1044}" dt="2024-02-08T22:03:14.639" v="2341" actId="478"/>
          <ac:spMkLst>
            <pc:docMk/>
            <pc:sldMk cId="2524161809" sldId="2147474054"/>
            <ac:spMk id="10" creationId="{8780FE11-BE06-A784-FE9E-7E36978D60D1}"/>
          </ac:spMkLst>
        </pc:spChg>
        <pc:spChg chg="del">
          <ac:chgData name="Zhan, Yao" userId="37b612df-86ed-4d30-8716-76c92ac1c591" providerId="ADAL" clId="{3F84E826-ADB0-4DE0-BA99-F21E8FCE1044}" dt="2024-02-09T17:48:06.160" v="3019" actId="478"/>
          <ac:spMkLst>
            <pc:docMk/>
            <pc:sldMk cId="2524161809" sldId="2147474054"/>
            <ac:spMk id="12" creationId="{A183DE35-B5E8-C2C4-770E-EEBFEEC67AC9}"/>
          </ac:spMkLst>
        </pc:spChg>
        <pc:picChg chg="del">
          <ac:chgData name="Zhan, Yao" userId="37b612df-86ed-4d30-8716-76c92ac1c591" providerId="ADAL" clId="{3F84E826-ADB0-4DE0-BA99-F21E8FCE1044}" dt="2024-02-08T22:03:08.393" v="2338" actId="478"/>
          <ac:picMkLst>
            <pc:docMk/>
            <pc:sldMk cId="2524161809" sldId="2147474054"/>
            <ac:picMk id="2" creationId="{D864A0BF-9E1F-E7B7-89EF-D38E078ED073}"/>
          </ac:picMkLst>
        </pc:picChg>
        <pc:picChg chg="add mod">
          <ac:chgData name="Zhan, Yao" userId="37b612df-86ed-4d30-8716-76c92ac1c591" providerId="ADAL" clId="{3F84E826-ADB0-4DE0-BA99-F21E8FCE1044}" dt="2024-02-08T22:03:24.949" v="2344" actId="1076"/>
          <ac:picMkLst>
            <pc:docMk/>
            <pc:sldMk cId="2524161809" sldId="2147474054"/>
            <ac:picMk id="3" creationId="{435B3EF4-5D38-113F-E3A9-EDC59FFB8454}"/>
          </ac:picMkLst>
        </pc:picChg>
        <pc:picChg chg="del">
          <ac:chgData name="Zhan, Yao" userId="37b612df-86ed-4d30-8716-76c92ac1c591" providerId="ADAL" clId="{3F84E826-ADB0-4DE0-BA99-F21E8FCE1044}" dt="2024-02-08T22:03:10.780" v="2339" actId="478"/>
          <ac:picMkLst>
            <pc:docMk/>
            <pc:sldMk cId="2524161809" sldId="2147474054"/>
            <ac:picMk id="4" creationId="{CC3D6F2D-C7EF-B411-E1FF-A09E6B927299}"/>
          </ac:picMkLst>
        </pc:picChg>
      </pc:sldChg>
      <pc:sldChg chg="new del">
        <pc:chgData name="Zhan, Yao" userId="37b612df-86ed-4d30-8716-76c92ac1c591" providerId="ADAL" clId="{3F84E826-ADB0-4DE0-BA99-F21E8FCE1044}" dt="2024-02-08T16:01:24.909" v="1884" actId="47"/>
        <pc:sldMkLst>
          <pc:docMk/>
          <pc:sldMk cId="828693930" sldId="2147474055"/>
        </pc:sldMkLst>
      </pc:sldChg>
      <pc:sldChg chg="addSp delSp modSp new mod">
        <pc:chgData name="Zhan, Yao" userId="37b612df-86ed-4d30-8716-76c92ac1c591" providerId="ADAL" clId="{3F84E826-ADB0-4DE0-BA99-F21E8FCE1044}" dt="2024-02-09T17:42:55.068" v="2738" actId="20577"/>
        <pc:sldMkLst>
          <pc:docMk/>
          <pc:sldMk cId="2786644049" sldId="2147474056"/>
        </pc:sldMkLst>
        <pc:spChg chg="del">
          <ac:chgData name="Zhan, Yao" userId="37b612df-86ed-4d30-8716-76c92ac1c591" providerId="ADAL" clId="{3F84E826-ADB0-4DE0-BA99-F21E8FCE1044}" dt="2024-02-08T16:01:27.203" v="1885" actId="478"/>
          <ac:spMkLst>
            <pc:docMk/>
            <pc:sldMk cId="2786644049" sldId="2147474056"/>
            <ac:spMk id="2" creationId="{83B78D08-A7C4-3025-5C61-31FF3CC3CF12}"/>
          </ac:spMkLst>
        </pc:spChg>
        <pc:spChg chg="mod">
          <ac:chgData name="Zhan, Yao" userId="37b612df-86ed-4d30-8716-76c92ac1c591" providerId="ADAL" clId="{3F84E826-ADB0-4DE0-BA99-F21E8FCE1044}" dt="2024-02-08T21:12:06.110" v="2046" actId="1076"/>
          <ac:spMkLst>
            <pc:docMk/>
            <pc:sldMk cId="2786644049" sldId="2147474056"/>
            <ac:spMk id="3" creationId="{E941E43B-538E-52F3-C816-FBAB7126D138}"/>
          </ac:spMkLst>
        </pc:spChg>
        <pc:spChg chg="mod">
          <ac:chgData name="Zhan, Yao" userId="37b612df-86ed-4d30-8716-76c92ac1c591" providerId="ADAL" clId="{3F84E826-ADB0-4DE0-BA99-F21E8FCE1044}" dt="2024-02-09T17:42:55.068" v="2738" actId="20577"/>
          <ac:spMkLst>
            <pc:docMk/>
            <pc:sldMk cId="2786644049" sldId="2147474056"/>
            <ac:spMk id="4" creationId="{1889D0E2-C257-63D2-4594-4605A49B8C76}"/>
          </ac:spMkLst>
        </pc:spChg>
        <pc:spChg chg="mod">
          <ac:chgData name="Zhan, Yao" userId="37b612df-86ed-4d30-8716-76c92ac1c591" providerId="ADAL" clId="{3F84E826-ADB0-4DE0-BA99-F21E8FCE1044}" dt="2024-02-08T21:12:12.811" v="2048" actId="1076"/>
          <ac:spMkLst>
            <pc:docMk/>
            <pc:sldMk cId="2786644049" sldId="2147474056"/>
            <ac:spMk id="5" creationId="{CF7D93DC-8083-827B-C287-7CAA90E6773F}"/>
          </ac:spMkLst>
        </pc:spChg>
        <pc:spChg chg="del mod">
          <ac:chgData name="Zhan, Yao" userId="37b612df-86ed-4d30-8716-76c92ac1c591" providerId="ADAL" clId="{3F84E826-ADB0-4DE0-BA99-F21E8FCE1044}" dt="2024-02-08T21:12:08.562" v="2047" actId="478"/>
          <ac:spMkLst>
            <pc:docMk/>
            <pc:sldMk cId="2786644049" sldId="2147474056"/>
            <ac:spMk id="6" creationId="{7CCC9E90-C478-3E1F-72E9-69DE2F8E5B2E}"/>
          </ac:spMkLst>
        </pc:spChg>
        <pc:spChg chg="add mod">
          <ac:chgData name="Zhan, Yao" userId="37b612df-86ed-4d30-8716-76c92ac1c591" providerId="ADAL" clId="{3F84E826-ADB0-4DE0-BA99-F21E8FCE1044}" dt="2024-02-08T21:12:06.110" v="2046" actId="1076"/>
          <ac:spMkLst>
            <pc:docMk/>
            <pc:sldMk cId="2786644049" sldId="2147474056"/>
            <ac:spMk id="17" creationId="{75922574-5FCC-3A7C-B86E-9B67AA7B90D5}"/>
          </ac:spMkLst>
        </pc:spChg>
        <pc:spChg chg="add mod">
          <ac:chgData name="Zhan, Yao" userId="37b612df-86ed-4d30-8716-76c92ac1c591" providerId="ADAL" clId="{3F84E826-ADB0-4DE0-BA99-F21E8FCE1044}" dt="2024-02-08T21:12:06.110" v="2046" actId="1076"/>
          <ac:spMkLst>
            <pc:docMk/>
            <pc:sldMk cId="2786644049" sldId="2147474056"/>
            <ac:spMk id="18" creationId="{8810F383-7A36-FA8B-30DE-EFA5309AE52E}"/>
          </ac:spMkLst>
        </pc:spChg>
        <pc:spChg chg="add mod">
          <ac:chgData name="Zhan, Yao" userId="37b612df-86ed-4d30-8716-76c92ac1c591" providerId="ADAL" clId="{3F84E826-ADB0-4DE0-BA99-F21E8FCE1044}" dt="2024-02-08T21:12:06.110" v="2046" actId="1076"/>
          <ac:spMkLst>
            <pc:docMk/>
            <pc:sldMk cId="2786644049" sldId="2147474056"/>
            <ac:spMk id="19" creationId="{E00E2F96-E34E-000D-97AC-D6993F78179F}"/>
          </ac:spMkLst>
        </pc:spChg>
        <pc:spChg chg="add del mod">
          <ac:chgData name="Zhan, Yao" userId="37b612df-86ed-4d30-8716-76c92ac1c591" providerId="ADAL" clId="{3F84E826-ADB0-4DE0-BA99-F21E8FCE1044}" dt="2024-02-08T16:54:49.058" v="1976" actId="478"/>
          <ac:spMkLst>
            <pc:docMk/>
            <pc:sldMk cId="2786644049" sldId="2147474056"/>
            <ac:spMk id="20" creationId="{63DD5597-6849-4639-1F3C-1D66484209A1}"/>
          </ac:spMkLst>
        </pc:spChg>
        <pc:spChg chg="add mod">
          <ac:chgData name="Zhan, Yao" userId="37b612df-86ed-4d30-8716-76c92ac1c591" providerId="ADAL" clId="{3F84E826-ADB0-4DE0-BA99-F21E8FCE1044}" dt="2024-02-08T21:12:06.110" v="2046" actId="1076"/>
          <ac:spMkLst>
            <pc:docMk/>
            <pc:sldMk cId="2786644049" sldId="2147474056"/>
            <ac:spMk id="21" creationId="{85C28BC4-FD75-23C4-26AC-4E69BC96739F}"/>
          </ac:spMkLst>
        </pc:spChg>
        <pc:spChg chg="add mod">
          <ac:chgData name="Zhan, Yao" userId="37b612df-86ed-4d30-8716-76c92ac1c591" providerId="ADAL" clId="{3F84E826-ADB0-4DE0-BA99-F21E8FCE1044}" dt="2024-02-08T21:12:06.110" v="2046" actId="1076"/>
          <ac:spMkLst>
            <pc:docMk/>
            <pc:sldMk cId="2786644049" sldId="2147474056"/>
            <ac:spMk id="22" creationId="{D928E670-6D46-83DA-ECBD-66D5397007A0}"/>
          </ac:spMkLst>
        </pc:spChg>
        <pc:spChg chg="add mod">
          <ac:chgData name="Zhan, Yao" userId="37b612df-86ed-4d30-8716-76c92ac1c591" providerId="ADAL" clId="{3F84E826-ADB0-4DE0-BA99-F21E8FCE1044}" dt="2024-02-08T21:12:06.110" v="2046" actId="1076"/>
          <ac:spMkLst>
            <pc:docMk/>
            <pc:sldMk cId="2786644049" sldId="2147474056"/>
            <ac:spMk id="23" creationId="{B586344F-1EE3-6277-55A8-6F50B1F4DE6A}"/>
          </ac:spMkLst>
        </pc:spChg>
        <pc:spChg chg="add mod">
          <ac:chgData name="Zhan, Yao" userId="37b612df-86ed-4d30-8716-76c92ac1c591" providerId="ADAL" clId="{3F84E826-ADB0-4DE0-BA99-F21E8FCE1044}" dt="2024-02-08T21:12:06.110" v="2046" actId="1076"/>
          <ac:spMkLst>
            <pc:docMk/>
            <pc:sldMk cId="2786644049" sldId="2147474056"/>
            <ac:spMk id="24" creationId="{9AB988EF-7A6E-FE2F-EC8A-0E388942BEED}"/>
          </ac:spMkLst>
        </pc:spChg>
        <pc:spChg chg="add mod">
          <ac:chgData name="Zhan, Yao" userId="37b612df-86ed-4d30-8716-76c92ac1c591" providerId="ADAL" clId="{3F84E826-ADB0-4DE0-BA99-F21E8FCE1044}" dt="2024-02-08T21:12:06.110" v="2046" actId="1076"/>
          <ac:spMkLst>
            <pc:docMk/>
            <pc:sldMk cId="2786644049" sldId="2147474056"/>
            <ac:spMk id="25" creationId="{ED0C8F08-EA36-22AA-1723-3DB931BD825A}"/>
          </ac:spMkLst>
        </pc:spChg>
        <pc:spChg chg="add mod">
          <ac:chgData name="Zhan, Yao" userId="37b612df-86ed-4d30-8716-76c92ac1c591" providerId="ADAL" clId="{3F84E826-ADB0-4DE0-BA99-F21E8FCE1044}" dt="2024-02-08T21:12:06.110" v="2046" actId="1076"/>
          <ac:spMkLst>
            <pc:docMk/>
            <pc:sldMk cId="2786644049" sldId="2147474056"/>
            <ac:spMk id="26" creationId="{B1139292-E1D3-E50A-E044-4065BC8E6D1D}"/>
          </ac:spMkLst>
        </pc:spChg>
        <pc:picChg chg="add del mod">
          <ac:chgData name="Zhan, Yao" userId="37b612df-86ed-4d30-8716-76c92ac1c591" providerId="ADAL" clId="{3F84E826-ADB0-4DE0-BA99-F21E8FCE1044}" dt="2024-02-08T16:03:04.451" v="1889" actId="478"/>
          <ac:picMkLst>
            <pc:docMk/>
            <pc:sldMk cId="2786644049" sldId="2147474056"/>
            <ac:picMk id="7" creationId="{2BAF6BAF-C8AE-93D8-ABCF-4A12BFDF7611}"/>
          </ac:picMkLst>
        </pc:picChg>
        <pc:picChg chg="add del mod">
          <ac:chgData name="Zhan, Yao" userId="37b612df-86ed-4d30-8716-76c92ac1c591" providerId="ADAL" clId="{3F84E826-ADB0-4DE0-BA99-F21E8FCE1044}" dt="2024-02-08T16:06:36.484" v="1895" actId="478"/>
          <ac:picMkLst>
            <pc:docMk/>
            <pc:sldMk cId="2786644049" sldId="2147474056"/>
            <ac:picMk id="8" creationId="{EE5952DD-B89F-C5D4-FD71-7793D40270E8}"/>
          </ac:picMkLst>
        </pc:picChg>
        <pc:picChg chg="add del mod">
          <ac:chgData name="Zhan, Yao" userId="37b612df-86ed-4d30-8716-76c92ac1c591" providerId="ADAL" clId="{3F84E826-ADB0-4DE0-BA99-F21E8FCE1044}" dt="2024-02-08T16:25:52.864" v="1908" actId="478"/>
          <ac:picMkLst>
            <pc:docMk/>
            <pc:sldMk cId="2786644049" sldId="2147474056"/>
            <ac:picMk id="9" creationId="{F3192C03-4659-64CD-5D60-FAE081D09197}"/>
          </ac:picMkLst>
        </pc:picChg>
        <pc:picChg chg="add del mod">
          <ac:chgData name="Zhan, Yao" userId="37b612df-86ed-4d30-8716-76c92ac1c591" providerId="ADAL" clId="{3F84E826-ADB0-4DE0-BA99-F21E8FCE1044}" dt="2024-02-08T16:25:54.216" v="1909" actId="478"/>
          <ac:picMkLst>
            <pc:docMk/>
            <pc:sldMk cId="2786644049" sldId="2147474056"/>
            <ac:picMk id="10" creationId="{A00E0B0B-1A09-CF3C-8BFC-71993B290E73}"/>
          </ac:picMkLst>
        </pc:picChg>
        <pc:picChg chg="add del mod">
          <ac:chgData name="Zhan, Yao" userId="37b612df-86ed-4d30-8716-76c92ac1c591" providerId="ADAL" clId="{3F84E826-ADB0-4DE0-BA99-F21E8FCE1044}" dt="2024-02-08T21:12:00.127" v="2045" actId="478"/>
          <ac:picMkLst>
            <pc:docMk/>
            <pc:sldMk cId="2786644049" sldId="2147474056"/>
            <ac:picMk id="11" creationId="{ABEF2F10-0889-9572-D4F6-E54DC6FC8E2E}"/>
          </ac:picMkLst>
        </pc:picChg>
        <pc:picChg chg="add del mod">
          <ac:chgData name="Zhan, Yao" userId="37b612df-86ed-4d30-8716-76c92ac1c591" providerId="ADAL" clId="{3F84E826-ADB0-4DE0-BA99-F21E8FCE1044}" dt="2024-02-08T21:12:00.127" v="2045" actId="478"/>
          <ac:picMkLst>
            <pc:docMk/>
            <pc:sldMk cId="2786644049" sldId="2147474056"/>
            <ac:picMk id="12" creationId="{0290F28F-56B7-60A0-32C0-52E653825CF9}"/>
          </ac:picMkLst>
        </pc:picChg>
        <pc:picChg chg="add del mod">
          <ac:chgData name="Zhan, Yao" userId="37b612df-86ed-4d30-8716-76c92ac1c591" providerId="ADAL" clId="{3F84E826-ADB0-4DE0-BA99-F21E8FCE1044}" dt="2024-02-08T21:12:00.127" v="2045" actId="478"/>
          <ac:picMkLst>
            <pc:docMk/>
            <pc:sldMk cId="2786644049" sldId="2147474056"/>
            <ac:picMk id="13" creationId="{9624CBEB-AE5B-C270-2E5A-D9C2B32EB904}"/>
          </ac:picMkLst>
        </pc:picChg>
        <pc:picChg chg="add mod">
          <ac:chgData name="Zhan, Yao" userId="37b612df-86ed-4d30-8716-76c92ac1c591" providerId="ADAL" clId="{3F84E826-ADB0-4DE0-BA99-F21E8FCE1044}" dt="2024-02-08T21:12:06.110" v="2046" actId="1076"/>
          <ac:picMkLst>
            <pc:docMk/>
            <pc:sldMk cId="2786644049" sldId="2147474056"/>
            <ac:picMk id="14" creationId="{7E3821D4-319A-A5AF-56D8-1B6DC06C6F04}"/>
          </ac:picMkLst>
        </pc:picChg>
        <pc:picChg chg="add mod">
          <ac:chgData name="Zhan, Yao" userId="37b612df-86ed-4d30-8716-76c92ac1c591" providerId="ADAL" clId="{3F84E826-ADB0-4DE0-BA99-F21E8FCE1044}" dt="2024-02-08T21:12:06.110" v="2046" actId="1076"/>
          <ac:picMkLst>
            <pc:docMk/>
            <pc:sldMk cId="2786644049" sldId="2147474056"/>
            <ac:picMk id="15" creationId="{EC6A97CE-203E-EFDF-B0D0-CD83D8E32BBC}"/>
          </ac:picMkLst>
        </pc:picChg>
        <pc:picChg chg="add mod">
          <ac:chgData name="Zhan, Yao" userId="37b612df-86ed-4d30-8716-76c92ac1c591" providerId="ADAL" clId="{3F84E826-ADB0-4DE0-BA99-F21E8FCE1044}" dt="2024-02-08T21:12:06.110" v="2046" actId="1076"/>
          <ac:picMkLst>
            <pc:docMk/>
            <pc:sldMk cId="2786644049" sldId="2147474056"/>
            <ac:picMk id="16" creationId="{BF6C6B26-1502-0FC4-D7EB-72CC1FB45C97}"/>
          </ac:picMkLst>
        </pc:picChg>
      </pc:sldChg>
      <pc:sldChg chg="addSp delSp modSp new del mod">
        <pc:chgData name="Zhan, Yao" userId="37b612df-86ed-4d30-8716-76c92ac1c591" providerId="ADAL" clId="{3F84E826-ADB0-4DE0-BA99-F21E8FCE1044}" dt="2024-02-08T18:45:04.563" v="2008" actId="47"/>
        <pc:sldMkLst>
          <pc:docMk/>
          <pc:sldMk cId="2969470608" sldId="2147474057"/>
        </pc:sldMkLst>
        <pc:spChg chg="del">
          <ac:chgData name="Zhan, Yao" userId="37b612df-86ed-4d30-8716-76c92ac1c591" providerId="ADAL" clId="{3F84E826-ADB0-4DE0-BA99-F21E8FCE1044}" dt="2024-02-08T16:38:52.779" v="1937" actId="478"/>
          <ac:spMkLst>
            <pc:docMk/>
            <pc:sldMk cId="2969470608" sldId="2147474057"/>
            <ac:spMk id="2" creationId="{C5A92211-D29D-23CA-FECE-CE10D75D9D12}"/>
          </ac:spMkLst>
        </pc:spChg>
        <pc:picChg chg="add mod">
          <ac:chgData name="Zhan, Yao" userId="37b612df-86ed-4d30-8716-76c92ac1c591" providerId="ADAL" clId="{3F84E826-ADB0-4DE0-BA99-F21E8FCE1044}" dt="2024-02-08T18:41:29.539" v="1999" actId="1076"/>
          <ac:picMkLst>
            <pc:docMk/>
            <pc:sldMk cId="2969470608" sldId="2147474057"/>
            <ac:picMk id="7" creationId="{347E01B7-8045-F7F3-7F27-8C90E390FE37}"/>
          </ac:picMkLst>
        </pc:picChg>
        <pc:picChg chg="add mod">
          <ac:chgData name="Zhan, Yao" userId="37b612df-86ed-4d30-8716-76c92ac1c591" providerId="ADAL" clId="{3F84E826-ADB0-4DE0-BA99-F21E8FCE1044}" dt="2024-02-08T17:45:53.279" v="1998" actId="1076"/>
          <ac:picMkLst>
            <pc:docMk/>
            <pc:sldMk cId="2969470608" sldId="2147474057"/>
            <ac:picMk id="8" creationId="{E9594808-6E3C-4D78-32F4-613EE25A1451}"/>
          </ac:picMkLst>
        </pc:picChg>
      </pc:sldChg>
      <pc:sldChg chg="addSp delSp modSp new mod">
        <pc:chgData name="Zhan, Yao" userId="37b612df-86ed-4d30-8716-76c92ac1c591" providerId="ADAL" clId="{3F84E826-ADB0-4DE0-BA99-F21E8FCE1044}" dt="2024-02-09T17:45:22.877" v="2928" actId="20577"/>
        <pc:sldMkLst>
          <pc:docMk/>
          <pc:sldMk cId="3141400691" sldId="2147474058"/>
        </pc:sldMkLst>
        <pc:spChg chg="del">
          <ac:chgData name="Zhan, Yao" userId="37b612df-86ed-4d30-8716-76c92ac1c591" providerId="ADAL" clId="{3F84E826-ADB0-4DE0-BA99-F21E8FCE1044}" dt="2024-02-08T18:41:36.056" v="2001" actId="478"/>
          <ac:spMkLst>
            <pc:docMk/>
            <pc:sldMk cId="3141400691" sldId="2147474058"/>
            <ac:spMk id="2" creationId="{6F91027E-EEB0-EA03-D513-A5F2B16DFA19}"/>
          </ac:spMkLst>
        </pc:spChg>
        <pc:spChg chg="mod">
          <ac:chgData name="Zhan, Yao" userId="37b612df-86ed-4d30-8716-76c92ac1c591" providerId="ADAL" clId="{3F84E826-ADB0-4DE0-BA99-F21E8FCE1044}" dt="2024-02-09T17:45:22.877" v="2928" actId="20577"/>
          <ac:spMkLst>
            <pc:docMk/>
            <pc:sldMk cId="3141400691" sldId="2147474058"/>
            <ac:spMk id="4" creationId="{5D551795-7791-10C7-9B41-75BFD6743DF8}"/>
          </ac:spMkLst>
        </pc:spChg>
        <pc:spChg chg="add mod">
          <ac:chgData name="Zhan, Yao" userId="37b612df-86ed-4d30-8716-76c92ac1c591" providerId="ADAL" clId="{3F84E826-ADB0-4DE0-BA99-F21E8FCE1044}" dt="2024-02-08T21:16:54.361" v="2080" actId="208"/>
          <ac:spMkLst>
            <pc:docMk/>
            <pc:sldMk cId="3141400691" sldId="2147474058"/>
            <ac:spMk id="10" creationId="{5CB99734-CDF1-78DC-1169-6EB699D0F2A1}"/>
          </ac:spMkLst>
        </pc:spChg>
        <pc:spChg chg="add mod">
          <ac:chgData name="Zhan, Yao" userId="37b612df-86ed-4d30-8716-76c92ac1c591" providerId="ADAL" clId="{3F84E826-ADB0-4DE0-BA99-F21E8FCE1044}" dt="2024-02-08T21:17:10.118" v="2083" actId="14100"/>
          <ac:spMkLst>
            <pc:docMk/>
            <pc:sldMk cId="3141400691" sldId="2147474058"/>
            <ac:spMk id="11" creationId="{5326A14A-16B5-C8D3-BF78-AAFB3511AA48}"/>
          </ac:spMkLst>
        </pc:spChg>
        <pc:spChg chg="add mod">
          <ac:chgData name="Zhan, Yao" userId="37b612df-86ed-4d30-8716-76c92ac1c591" providerId="ADAL" clId="{3F84E826-ADB0-4DE0-BA99-F21E8FCE1044}" dt="2024-02-08T21:17:44.709" v="2174" actId="1037"/>
          <ac:spMkLst>
            <pc:docMk/>
            <pc:sldMk cId="3141400691" sldId="2147474058"/>
            <ac:spMk id="12" creationId="{A3AF1964-2E3F-C7DC-FD72-1A53433727C8}"/>
          </ac:spMkLst>
        </pc:spChg>
        <pc:spChg chg="add mod">
          <ac:chgData name="Zhan, Yao" userId="37b612df-86ed-4d30-8716-76c92ac1c591" providerId="ADAL" clId="{3F84E826-ADB0-4DE0-BA99-F21E8FCE1044}" dt="2024-02-08T21:18:48.120" v="2292" actId="14100"/>
          <ac:spMkLst>
            <pc:docMk/>
            <pc:sldMk cId="3141400691" sldId="2147474058"/>
            <ac:spMk id="13" creationId="{E49EB873-D6A5-2469-B0C9-47D8C4FC181E}"/>
          </ac:spMkLst>
        </pc:spChg>
        <pc:spChg chg="add mod">
          <ac:chgData name="Zhan, Yao" userId="37b612df-86ed-4d30-8716-76c92ac1c591" providerId="ADAL" clId="{3F84E826-ADB0-4DE0-BA99-F21E8FCE1044}" dt="2024-02-08T21:18:13.272" v="2285" actId="1037"/>
          <ac:spMkLst>
            <pc:docMk/>
            <pc:sldMk cId="3141400691" sldId="2147474058"/>
            <ac:spMk id="14" creationId="{D2C73761-50FE-D1E7-64DD-EBB61D0F6986}"/>
          </ac:spMkLst>
        </pc:spChg>
        <pc:spChg chg="add mod">
          <ac:chgData name="Zhan, Yao" userId="37b612df-86ed-4d30-8716-76c92ac1c591" providerId="ADAL" clId="{3F84E826-ADB0-4DE0-BA99-F21E8FCE1044}" dt="2024-02-08T21:19:56.215" v="2307" actId="14100"/>
          <ac:spMkLst>
            <pc:docMk/>
            <pc:sldMk cId="3141400691" sldId="2147474058"/>
            <ac:spMk id="15" creationId="{8EC5E304-D3C9-047D-3D90-0601A74EFE6D}"/>
          </ac:spMkLst>
        </pc:spChg>
        <pc:spChg chg="add mod">
          <ac:chgData name="Zhan, Yao" userId="37b612df-86ed-4d30-8716-76c92ac1c591" providerId="ADAL" clId="{3F84E826-ADB0-4DE0-BA99-F21E8FCE1044}" dt="2024-02-08T21:20:22.335" v="2310" actId="14100"/>
          <ac:spMkLst>
            <pc:docMk/>
            <pc:sldMk cId="3141400691" sldId="2147474058"/>
            <ac:spMk id="16" creationId="{118FB801-5A9E-0302-1C59-F1BBB9FB1B16}"/>
          </ac:spMkLst>
        </pc:spChg>
        <pc:picChg chg="add del mod">
          <ac:chgData name="Zhan, Yao" userId="37b612df-86ed-4d30-8716-76c92ac1c591" providerId="ADAL" clId="{3F84E826-ADB0-4DE0-BA99-F21E8FCE1044}" dt="2024-02-08T21:15:43.991" v="2049" actId="478"/>
          <ac:picMkLst>
            <pc:docMk/>
            <pc:sldMk cId="3141400691" sldId="2147474058"/>
            <ac:picMk id="7" creationId="{AA4FCAF0-CFB8-C95F-A23F-EF8E779C80C6}"/>
          </ac:picMkLst>
        </pc:picChg>
        <pc:picChg chg="add mod">
          <ac:chgData name="Zhan, Yao" userId="37b612df-86ed-4d30-8716-76c92ac1c591" providerId="ADAL" clId="{3F84E826-ADB0-4DE0-BA99-F21E8FCE1044}" dt="2024-02-08T21:17:18.438" v="2086" actId="1076"/>
          <ac:picMkLst>
            <pc:docMk/>
            <pc:sldMk cId="3141400691" sldId="2147474058"/>
            <ac:picMk id="8" creationId="{4EBB7495-D65A-2E05-9CA4-173EF52932F0}"/>
          </ac:picMkLst>
        </pc:picChg>
        <pc:picChg chg="add mod">
          <ac:chgData name="Zhan, Yao" userId="37b612df-86ed-4d30-8716-76c92ac1c591" providerId="ADAL" clId="{3F84E826-ADB0-4DE0-BA99-F21E8FCE1044}" dt="2024-02-08T21:16:04.938" v="2052" actId="1076"/>
          <ac:picMkLst>
            <pc:docMk/>
            <pc:sldMk cId="3141400691" sldId="2147474058"/>
            <ac:picMk id="9" creationId="{70D93534-4290-8AE1-7EAF-7E0EB76274F2}"/>
          </ac:picMkLst>
        </pc:picChg>
      </pc:sldChg>
      <pc:sldChg chg="addSp delSp modSp new mod">
        <pc:chgData name="Zhan, Yao" userId="37b612df-86ed-4d30-8716-76c92ac1c591" providerId="ADAL" clId="{3F84E826-ADB0-4DE0-BA99-F21E8FCE1044}" dt="2024-02-09T17:47:10.453" v="2999" actId="20577"/>
        <pc:sldMkLst>
          <pc:docMk/>
          <pc:sldMk cId="3995496365" sldId="2147474059"/>
        </pc:sldMkLst>
        <pc:spChg chg="del">
          <ac:chgData name="Zhan, Yao" userId="37b612df-86ed-4d30-8716-76c92ac1c591" providerId="ADAL" clId="{3F84E826-ADB0-4DE0-BA99-F21E8FCE1044}" dt="2024-02-08T18:45:10.203" v="2010" actId="478"/>
          <ac:spMkLst>
            <pc:docMk/>
            <pc:sldMk cId="3995496365" sldId="2147474059"/>
            <ac:spMk id="2" creationId="{BCCEDAFA-A110-626B-C6D6-242931FF06D3}"/>
          </ac:spMkLst>
        </pc:spChg>
        <pc:spChg chg="mod">
          <ac:chgData name="Zhan, Yao" userId="37b612df-86ed-4d30-8716-76c92ac1c591" providerId="ADAL" clId="{3F84E826-ADB0-4DE0-BA99-F21E8FCE1044}" dt="2024-02-09T17:47:10.453" v="2999" actId="20577"/>
          <ac:spMkLst>
            <pc:docMk/>
            <pc:sldMk cId="3995496365" sldId="2147474059"/>
            <ac:spMk id="4" creationId="{14409CA5-64C5-E3BD-0BAE-F0F847634D6F}"/>
          </ac:spMkLst>
        </pc:spChg>
        <pc:picChg chg="add del mod">
          <ac:chgData name="Zhan, Yao" userId="37b612df-86ed-4d30-8716-76c92ac1c591" providerId="ADAL" clId="{3F84E826-ADB0-4DE0-BA99-F21E8FCE1044}" dt="2024-02-08T21:20:36.609" v="2311" actId="478"/>
          <ac:picMkLst>
            <pc:docMk/>
            <pc:sldMk cId="3995496365" sldId="2147474059"/>
            <ac:picMk id="7" creationId="{3106BE87-5211-8EC3-D0DE-13642F5D92D4}"/>
          </ac:picMkLst>
        </pc:picChg>
        <pc:picChg chg="add mod">
          <ac:chgData name="Zhan, Yao" userId="37b612df-86ed-4d30-8716-76c92ac1c591" providerId="ADAL" clId="{3F84E826-ADB0-4DE0-BA99-F21E8FCE1044}" dt="2024-02-08T21:21:30.042" v="2321" actId="1076"/>
          <ac:picMkLst>
            <pc:docMk/>
            <pc:sldMk cId="3995496365" sldId="2147474059"/>
            <ac:picMk id="8" creationId="{C866E26B-629F-2111-ED90-09F6F85541E8}"/>
          </ac:picMkLst>
        </pc:picChg>
      </pc:sldChg>
      <pc:sldChg chg="addSp delSp modSp new mod">
        <pc:chgData name="Zhan, Yao" userId="37b612df-86ed-4d30-8716-76c92ac1c591" providerId="ADAL" clId="{3F84E826-ADB0-4DE0-BA99-F21E8FCE1044}" dt="2024-02-09T17:47:50.686" v="3018" actId="20577"/>
        <pc:sldMkLst>
          <pc:docMk/>
          <pc:sldMk cId="403761026" sldId="2147474060"/>
        </pc:sldMkLst>
        <pc:spChg chg="del">
          <ac:chgData name="Zhan, Yao" userId="37b612df-86ed-4d30-8716-76c92ac1c591" providerId="ADAL" clId="{3F84E826-ADB0-4DE0-BA99-F21E8FCE1044}" dt="2024-02-08T18:54:55.955" v="2026" actId="478"/>
          <ac:spMkLst>
            <pc:docMk/>
            <pc:sldMk cId="403761026" sldId="2147474060"/>
            <ac:spMk id="2" creationId="{C4540ABD-E77E-D087-7F87-1AA5CD0F1DC2}"/>
          </ac:spMkLst>
        </pc:spChg>
        <pc:spChg chg="mod">
          <ac:chgData name="Zhan, Yao" userId="37b612df-86ed-4d30-8716-76c92ac1c591" providerId="ADAL" clId="{3F84E826-ADB0-4DE0-BA99-F21E8FCE1044}" dt="2024-02-09T17:47:50.686" v="3018" actId="20577"/>
          <ac:spMkLst>
            <pc:docMk/>
            <pc:sldMk cId="403761026" sldId="2147474060"/>
            <ac:spMk id="4" creationId="{4F98FB87-E463-EB81-AA0C-DE3F9C24B751}"/>
          </ac:spMkLst>
        </pc:spChg>
        <pc:spChg chg="add mod">
          <ac:chgData name="Zhan, Yao" userId="37b612df-86ed-4d30-8716-76c92ac1c591" providerId="ADAL" clId="{3F84E826-ADB0-4DE0-BA99-F21E8FCE1044}" dt="2024-02-08T18:56:38.283" v="2042" actId="1076"/>
          <ac:spMkLst>
            <pc:docMk/>
            <pc:sldMk cId="403761026" sldId="2147474060"/>
            <ac:spMk id="9" creationId="{5F44FEE8-242E-ACC9-A726-3013EF9D5582}"/>
          </ac:spMkLst>
        </pc:spChg>
        <pc:spChg chg="add del">
          <ac:chgData name="Zhan, Yao" userId="37b612df-86ed-4d30-8716-76c92ac1c591" providerId="ADAL" clId="{3F84E826-ADB0-4DE0-BA99-F21E8FCE1044}" dt="2024-02-08T21:21:53.129" v="2322" actId="478"/>
          <ac:spMkLst>
            <pc:docMk/>
            <pc:sldMk cId="403761026" sldId="2147474060"/>
            <ac:spMk id="10" creationId="{C1C86C9D-E2CF-3CDF-8AD9-3FA6BD35F72C}"/>
          </ac:spMkLst>
        </pc:spChg>
        <pc:picChg chg="add mod modCrop">
          <ac:chgData name="Zhan, Yao" userId="37b612df-86ed-4d30-8716-76c92ac1c591" providerId="ADAL" clId="{3F84E826-ADB0-4DE0-BA99-F21E8FCE1044}" dt="2024-02-08T21:55:02.791" v="2331" actId="1076"/>
          <ac:picMkLst>
            <pc:docMk/>
            <pc:sldMk cId="403761026" sldId="2147474060"/>
            <ac:picMk id="8" creationId="{476DFC6F-53BD-E60E-3434-473BA65F1E8A}"/>
          </ac:picMkLst>
        </pc:picChg>
        <pc:picChg chg="add del mod">
          <ac:chgData name="Zhan, Yao" userId="37b612df-86ed-4d30-8716-76c92ac1c591" providerId="ADAL" clId="{3F84E826-ADB0-4DE0-BA99-F21E8FCE1044}" dt="2024-02-08T21:55:21.068" v="2334" actId="478"/>
          <ac:picMkLst>
            <pc:docMk/>
            <pc:sldMk cId="403761026" sldId="2147474060"/>
            <ac:picMk id="11" creationId="{7175C85A-385C-7BCD-9693-27EFF87179E3}"/>
          </ac:picMkLst>
        </pc:picChg>
        <pc:picChg chg="add mod">
          <ac:chgData name="Zhan, Yao" userId="37b612df-86ed-4d30-8716-76c92ac1c591" providerId="ADAL" clId="{3F84E826-ADB0-4DE0-BA99-F21E8FCE1044}" dt="2024-02-08T21:55:58.366" v="2337" actId="1076"/>
          <ac:picMkLst>
            <pc:docMk/>
            <pc:sldMk cId="403761026" sldId="2147474060"/>
            <ac:picMk id="12" creationId="{F0159858-E8D5-B7EE-CC5E-C4949F3F7057}"/>
          </ac:picMkLst>
        </pc:picChg>
      </pc:sldChg>
      <pc:sldChg chg="modSp mod">
        <pc:chgData name="Zhan, Yao" userId="37b612df-86ed-4d30-8716-76c92ac1c591" providerId="ADAL" clId="{3F84E826-ADB0-4DE0-BA99-F21E8FCE1044}" dt="2024-02-09T17:52:53.330" v="3334" actId="20577"/>
        <pc:sldMkLst>
          <pc:docMk/>
          <pc:sldMk cId="115702695" sldId="2147474061"/>
        </pc:sldMkLst>
        <pc:spChg chg="mod">
          <ac:chgData name="Zhan, Yao" userId="37b612df-86ed-4d30-8716-76c92ac1c591" providerId="ADAL" clId="{3F84E826-ADB0-4DE0-BA99-F21E8FCE1044}" dt="2024-02-09T17:52:53.330" v="3334" actId="20577"/>
          <ac:spMkLst>
            <pc:docMk/>
            <pc:sldMk cId="115702695" sldId="2147474061"/>
            <ac:spMk id="4" creationId="{AA7B0BB9-6F2F-2EC0-3D88-F5073A26C2CD}"/>
          </ac:spMkLst>
        </pc:spChg>
      </pc:sldChg>
      <pc:sldChg chg="modSp mod">
        <pc:chgData name="Zhan, Yao" userId="37b612df-86ed-4d30-8716-76c92ac1c591" providerId="ADAL" clId="{3F84E826-ADB0-4DE0-BA99-F21E8FCE1044}" dt="2024-02-09T17:51:47.111" v="3238" actId="14100"/>
        <pc:sldMkLst>
          <pc:docMk/>
          <pc:sldMk cId="756235382" sldId="2147474062"/>
        </pc:sldMkLst>
        <pc:spChg chg="mod">
          <ac:chgData name="Zhan, Yao" userId="37b612df-86ed-4d30-8716-76c92ac1c591" providerId="ADAL" clId="{3F84E826-ADB0-4DE0-BA99-F21E8FCE1044}" dt="2024-02-09T17:51:47.111" v="3238" actId="14100"/>
          <ac:spMkLst>
            <pc:docMk/>
            <pc:sldMk cId="756235382" sldId="2147474062"/>
            <ac:spMk id="4" creationId="{5D551795-7791-10C7-9B41-75BFD6743DF8}"/>
          </ac:spMkLst>
        </pc:spChg>
      </pc:sldChg>
      <pc:sldChg chg="modSp mod">
        <pc:chgData name="Zhan, Yao" userId="37b612df-86ed-4d30-8716-76c92ac1c591" providerId="ADAL" clId="{3F84E826-ADB0-4DE0-BA99-F21E8FCE1044}" dt="2024-02-09T17:49:48.936" v="3155" actId="20577"/>
        <pc:sldMkLst>
          <pc:docMk/>
          <pc:sldMk cId="1711050" sldId="2147474063"/>
        </pc:sldMkLst>
        <pc:spChg chg="mod">
          <ac:chgData name="Zhan, Yao" userId="37b612df-86ed-4d30-8716-76c92ac1c591" providerId="ADAL" clId="{3F84E826-ADB0-4DE0-BA99-F21E8FCE1044}" dt="2024-02-09T17:49:48.936" v="3155" actId="20577"/>
          <ac:spMkLst>
            <pc:docMk/>
            <pc:sldMk cId="1711050" sldId="2147474063"/>
            <ac:spMk id="4" creationId="{1889D0E2-C257-63D2-4594-4605A49B8C76}"/>
          </ac:spMkLst>
        </pc:spChg>
      </pc:sldChg>
      <pc:sldChg chg="addSp delSp modSp mod modAnim">
        <pc:chgData name="Zhan, Yao" userId="37b612df-86ed-4d30-8716-76c92ac1c591" providerId="ADAL" clId="{3F84E826-ADB0-4DE0-BA99-F21E8FCE1044}" dt="2024-02-09T17:54:01.801" v="3475" actId="27636"/>
        <pc:sldMkLst>
          <pc:docMk/>
          <pc:sldMk cId="1921636955" sldId="2147474064"/>
        </pc:sldMkLst>
        <pc:spChg chg="mod">
          <ac:chgData name="Zhan, Yao" userId="37b612df-86ed-4d30-8716-76c92ac1c591" providerId="ADAL" clId="{3F84E826-ADB0-4DE0-BA99-F21E8FCE1044}" dt="2024-02-09T17:54:01.801" v="3475" actId="27636"/>
          <ac:spMkLst>
            <pc:docMk/>
            <pc:sldMk cId="1921636955" sldId="2147474064"/>
            <ac:spMk id="4" creationId="{C047FA8D-F165-B253-7788-DDB582AFA022}"/>
          </ac:spMkLst>
        </pc:spChg>
        <pc:spChg chg="add del mod">
          <ac:chgData name="Zhan, Yao" userId="37b612df-86ed-4d30-8716-76c92ac1c591" providerId="ADAL" clId="{3F84E826-ADB0-4DE0-BA99-F21E8FCE1044}" dt="2024-02-09T15:40:37.010" v="2368" actId="478"/>
          <ac:spMkLst>
            <pc:docMk/>
            <pc:sldMk cId="1921636955" sldId="2147474064"/>
            <ac:spMk id="7" creationId="{FC2D79E6-625E-A252-7D59-0FBF79D89630}"/>
          </ac:spMkLst>
        </pc:spChg>
        <pc:spChg chg="add del mod">
          <ac:chgData name="Zhan, Yao" userId="37b612df-86ed-4d30-8716-76c92ac1c591" providerId="ADAL" clId="{3F84E826-ADB0-4DE0-BA99-F21E8FCE1044}" dt="2024-02-09T15:40:34.181" v="2367" actId="478"/>
          <ac:spMkLst>
            <pc:docMk/>
            <pc:sldMk cId="1921636955" sldId="2147474064"/>
            <ac:spMk id="9" creationId="{A4341B8B-AF30-3B75-6B4C-6176530F0E33}"/>
          </ac:spMkLst>
        </pc:spChg>
        <pc:picChg chg="add mod">
          <ac:chgData name="Zhan, Yao" userId="37b612df-86ed-4d30-8716-76c92ac1c591" providerId="ADAL" clId="{3F84E826-ADB0-4DE0-BA99-F21E8FCE1044}" dt="2024-02-09T15:42:16.481" v="2390" actId="1076"/>
          <ac:picMkLst>
            <pc:docMk/>
            <pc:sldMk cId="1921636955" sldId="2147474064"/>
            <ac:picMk id="2" creationId="{4156B508-DA11-4E4F-2B73-7880E65BDE2D}"/>
          </ac:picMkLst>
        </pc:picChg>
        <pc:picChg chg="mod">
          <ac:chgData name="Zhan, Yao" userId="37b612df-86ed-4d30-8716-76c92ac1c591" providerId="ADAL" clId="{3F84E826-ADB0-4DE0-BA99-F21E8FCE1044}" dt="2024-02-09T15:41:52.477" v="2387" actId="1076"/>
          <ac:picMkLst>
            <pc:docMk/>
            <pc:sldMk cId="1921636955" sldId="2147474064"/>
            <ac:picMk id="8" creationId="{D0CFE486-6CBF-9717-72D2-CCF85D3047E8}"/>
          </ac:picMkLst>
        </pc:picChg>
        <pc:cxnChg chg="add mod">
          <ac:chgData name="Zhan, Yao" userId="37b612df-86ed-4d30-8716-76c92ac1c591" providerId="ADAL" clId="{3F84E826-ADB0-4DE0-BA99-F21E8FCE1044}" dt="2024-02-09T15:42:16.481" v="2390" actId="1076"/>
          <ac:cxnSpMkLst>
            <pc:docMk/>
            <pc:sldMk cId="1921636955" sldId="2147474064"/>
            <ac:cxnSpMk id="11" creationId="{5FD05CE2-966F-BED8-734B-CE8A46AB20BF}"/>
          </ac:cxnSpMkLst>
        </pc:cxnChg>
        <pc:cxnChg chg="add mod">
          <ac:chgData name="Zhan, Yao" userId="37b612df-86ed-4d30-8716-76c92ac1c591" providerId="ADAL" clId="{3F84E826-ADB0-4DE0-BA99-F21E8FCE1044}" dt="2024-02-09T15:42:16.481" v="2390" actId="1076"/>
          <ac:cxnSpMkLst>
            <pc:docMk/>
            <pc:sldMk cId="1921636955" sldId="2147474064"/>
            <ac:cxnSpMk id="12" creationId="{85AACE6A-8718-3EE7-F684-E3547579F1AB}"/>
          </ac:cxnSpMkLst>
        </pc:cxnChg>
      </pc:sldChg>
      <pc:sldChg chg="new del">
        <pc:chgData name="Zhan, Yao" userId="37b612df-86ed-4d30-8716-76c92ac1c591" providerId="ADAL" clId="{3F84E826-ADB0-4DE0-BA99-F21E8FCE1044}" dt="2024-02-09T20:59:46.050" v="3626" actId="47"/>
        <pc:sldMkLst>
          <pc:docMk/>
          <pc:sldMk cId="4003130880" sldId="2147474065"/>
        </pc:sldMkLst>
      </pc:sldChg>
      <pc:sldChg chg="addSp delSp modSp new mod">
        <pc:chgData name="Zhan, Yao" userId="37b612df-86ed-4d30-8716-76c92ac1c591" providerId="ADAL" clId="{3F84E826-ADB0-4DE0-BA99-F21E8FCE1044}" dt="2024-02-09T17:59:19.931" v="3624" actId="14100"/>
        <pc:sldMkLst>
          <pc:docMk/>
          <pc:sldMk cId="1543200414" sldId="2147474066"/>
        </pc:sldMkLst>
        <pc:spChg chg="del">
          <ac:chgData name="Zhan, Yao" userId="37b612df-86ed-4d30-8716-76c92ac1c591" providerId="ADAL" clId="{3F84E826-ADB0-4DE0-BA99-F21E8FCE1044}" dt="2024-02-09T17:56:29.416" v="3476" actId="478"/>
          <ac:spMkLst>
            <pc:docMk/>
            <pc:sldMk cId="1543200414" sldId="2147474066"/>
            <ac:spMk id="2" creationId="{1E136FBC-9364-BEC8-09EC-835157226C16}"/>
          </ac:spMkLst>
        </pc:spChg>
        <pc:spChg chg="mod">
          <ac:chgData name="Zhan, Yao" userId="37b612df-86ed-4d30-8716-76c92ac1c591" providerId="ADAL" clId="{3F84E826-ADB0-4DE0-BA99-F21E8FCE1044}" dt="2024-02-09T17:58:36.821" v="3613" actId="20577"/>
          <ac:spMkLst>
            <pc:docMk/>
            <pc:sldMk cId="1543200414" sldId="2147474066"/>
            <ac:spMk id="4" creationId="{5E37550B-45F9-010E-D851-B010FF00CFE4}"/>
          </ac:spMkLst>
        </pc:spChg>
        <pc:spChg chg="add mod">
          <ac:chgData name="Zhan, Yao" userId="37b612df-86ed-4d30-8716-76c92ac1c591" providerId="ADAL" clId="{3F84E826-ADB0-4DE0-BA99-F21E8FCE1044}" dt="2024-02-09T17:59:19.931" v="3624" actId="14100"/>
          <ac:spMkLst>
            <pc:docMk/>
            <pc:sldMk cId="1543200414" sldId="2147474066"/>
            <ac:spMk id="8" creationId="{7B7ECCF8-44DE-1FD5-22D0-C003F914D1FE}"/>
          </ac:spMkLst>
        </pc:spChg>
        <pc:picChg chg="add mod">
          <ac:chgData name="Zhan, Yao" userId="37b612df-86ed-4d30-8716-76c92ac1c591" providerId="ADAL" clId="{3F84E826-ADB0-4DE0-BA99-F21E8FCE1044}" dt="2024-02-09T17:58:41.443" v="3614" actId="1076"/>
          <ac:picMkLst>
            <pc:docMk/>
            <pc:sldMk cId="1543200414" sldId="2147474066"/>
            <ac:picMk id="7" creationId="{E1EEFE73-6D54-446D-4C6C-D95F21FCF0A3}"/>
          </ac:picMkLst>
        </pc:picChg>
      </pc:sldChg>
      <pc:sldChg chg="addSp delSp modSp new mod modShow">
        <pc:chgData name="Zhan, Yao" userId="37b612df-86ed-4d30-8716-76c92ac1c591" providerId="ADAL" clId="{3F84E826-ADB0-4DE0-BA99-F21E8FCE1044}" dt="2024-02-15T20:36:05.375" v="3877" actId="729"/>
        <pc:sldMkLst>
          <pc:docMk/>
          <pc:sldMk cId="2337837999" sldId="2147474067"/>
        </pc:sldMkLst>
        <pc:spChg chg="del">
          <ac:chgData name="Zhan, Yao" userId="37b612df-86ed-4d30-8716-76c92ac1c591" providerId="ADAL" clId="{3F84E826-ADB0-4DE0-BA99-F21E8FCE1044}" dt="2024-02-15T16:22:00.932" v="3628" actId="478"/>
          <ac:spMkLst>
            <pc:docMk/>
            <pc:sldMk cId="2337837999" sldId="2147474067"/>
            <ac:spMk id="2" creationId="{F0489604-DD26-16CD-0A8C-730B304BADB5}"/>
          </ac:spMkLst>
        </pc:spChg>
        <pc:spChg chg="add mod">
          <ac:chgData name="Zhan, Yao" userId="37b612df-86ed-4d30-8716-76c92ac1c591" providerId="ADAL" clId="{3F84E826-ADB0-4DE0-BA99-F21E8FCE1044}" dt="2024-02-15T16:30:15.538" v="3683" actId="1036"/>
          <ac:spMkLst>
            <pc:docMk/>
            <pc:sldMk cId="2337837999" sldId="2147474067"/>
            <ac:spMk id="8" creationId="{C8D992C8-7083-9DC6-3C9B-C06E323D9BB7}"/>
          </ac:spMkLst>
        </pc:spChg>
        <pc:spChg chg="add mod">
          <ac:chgData name="Zhan, Yao" userId="37b612df-86ed-4d30-8716-76c92ac1c591" providerId="ADAL" clId="{3F84E826-ADB0-4DE0-BA99-F21E8FCE1044}" dt="2024-02-15T20:16:00.713" v="3740" actId="1076"/>
          <ac:spMkLst>
            <pc:docMk/>
            <pc:sldMk cId="2337837999" sldId="2147474067"/>
            <ac:spMk id="11" creationId="{8638AE04-67B6-6B72-668F-541E69BCC130}"/>
          </ac:spMkLst>
        </pc:spChg>
        <pc:picChg chg="add del">
          <ac:chgData name="Zhan, Yao" userId="37b612df-86ed-4d30-8716-76c92ac1c591" providerId="ADAL" clId="{3F84E826-ADB0-4DE0-BA99-F21E8FCE1044}" dt="2024-02-15T16:28:04.383" v="3634" actId="478"/>
          <ac:picMkLst>
            <pc:docMk/>
            <pc:sldMk cId="2337837999" sldId="2147474067"/>
            <ac:picMk id="7" creationId="{26B2A211-2415-D83F-D809-12F82BB6A3E6}"/>
          </ac:picMkLst>
        </pc:picChg>
        <pc:picChg chg="add del ord">
          <ac:chgData name="Zhan, Yao" userId="37b612df-86ed-4d30-8716-76c92ac1c591" providerId="ADAL" clId="{3F84E826-ADB0-4DE0-BA99-F21E8FCE1044}" dt="2024-02-15T16:29:23.156" v="3637" actId="478"/>
          <ac:picMkLst>
            <pc:docMk/>
            <pc:sldMk cId="2337837999" sldId="2147474067"/>
            <ac:picMk id="9" creationId="{C7C9845B-95A2-F64F-B603-9C3A03514F14}"/>
          </ac:picMkLst>
        </pc:picChg>
        <pc:picChg chg="add ord">
          <ac:chgData name="Zhan, Yao" userId="37b612df-86ed-4d30-8716-76c92ac1c591" providerId="ADAL" clId="{3F84E826-ADB0-4DE0-BA99-F21E8FCE1044}" dt="2024-02-15T16:29:28.585" v="3639" actId="167"/>
          <ac:picMkLst>
            <pc:docMk/>
            <pc:sldMk cId="2337837999" sldId="2147474067"/>
            <ac:picMk id="10" creationId="{F715C48E-663D-0F7A-A20E-F22A15365E2D}"/>
          </ac:picMkLst>
        </pc:picChg>
      </pc:sldChg>
      <pc:sldChg chg="addSp delSp modSp new mod">
        <pc:chgData name="Zhan, Yao" userId="37b612df-86ed-4d30-8716-76c92ac1c591" providerId="ADAL" clId="{3F84E826-ADB0-4DE0-BA99-F21E8FCE1044}" dt="2024-02-15T20:17:04.699" v="3829" actId="20577"/>
        <pc:sldMkLst>
          <pc:docMk/>
          <pc:sldMk cId="499334572" sldId="2147474068"/>
        </pc:sldMkLst>
        <pc:spChg chg="del">
          <ac:chgData name="Zhan, Yao" userId="37b612df-86ed-4d30-8716-76c92ac1c591" providerId="ADAL" clId="{3F84E826-ADB0-4DE0-BA99-F21E8FCE1044}" dt="2024-02-15T20:16:06.112" v="3742" actId="478"/>
          <ac:spMkLst>
            <pc:docMk/>
            <pc:sldMk cId="499334572" sldId="2147474068"/>
            <ac:spMk id="2" creationId="{9AA76824-5F51-736D-B3F0-650FCB53343A}"/>
          </ac:spMkLst>
        </pc:spChg>
        <pc:spChg chg="add mod">
          <ac:chgData name="Zhan, Yao" userId="37b612df-86ed-4d30-8716-76c92ac1c591" providerId="ADAL" clId="{3F84E826-ADB0-4DE0-BA99-F21E8FCE1044}" dt="2024-02-15T20:16:24.043" v="3760" actId="1036"/>
          <ac:spMkLst>
            <pc:docMk/>
            <pc:sldMk cId="499334572" sldId="2147474068"/>
            <ac:spMk id="8" creationId="{00D0EE62-A2BA-12B0-A333-05C125C1A41C}"/>
          </ac:spMkLst>
        </pc:spChg>
        <pc:spChg chg="add mod">
          <ac:chgData name="Zhan, Yao" userId="37b612df-86ed-4d30-8716-76c92ac1c591" providerId="ADAL" clId="{3F84E826-ADB0-4DE0-BA99-F21E8FCE1044}" dt="2024-02-15T20:17:04.699" v="3829" actId="20577"/>
          <ac:spMkLst>
            <pc:docMk/>
            <pc:sldMk cId="499334572" sldId="2147474068"/>
            <ac:spMk id="9" creationId="{53BCF025-5F8C-D5BB-9C9E-03AD6EA9522E}"/>
          </ac:spMkLst>
        </pc:spChg>
        <pc:picChg chg="add">
          <ac:chgData name="Zhan, Yao" userId="37b612df-86ed-4d30-8716-76c92ac1c591" providerId="ADAL" clId="{3F84E826-ADB0-4DE0-BA99-F21E8FCE1044}" dt="2024-02-15T20:16:08.667" v="3743"/>
          <ac:picMkLst>
            <pc:docMk/>
            <pc:sldMk cId="499334572" sldId="2147474068"/>
            <ac:picMk id="7" creationId="{7DC4C9A0-EEBD-5FA7-70D4-2365F9313A82}"/>
          </ac:picMkLst>
        </pc:picChg>
      </pc:sldChg>
      <pc:sldChg chg="addSp delSp modSp new mod">
        <pc:chgData name="Zhan, Yao" userId="37b612df-86ed-4d30-8716-76c92ac1c591" providerId="ADAL" clId="{3F84E826-ADB0-4DE0-BA99-F21E8FCE1044}" dt="2024-02-15T20:20:11.821" v="3874" actId="1035"/>
        <pc:sldMkLst>
          <pc:docMk/>
          <pc:sldMk cId="1003195028" sldId="2147474069"/>
        </pc:sldMkLst>
        <pc:spChg chg="del">
          <ac:chgData name="Zhan, Yao" userId="37b612df-86ed-4d30-8716-76c92ac1c591" providerId="ADAL" clId="{3F84E826-ADB0-4DE0-BA99-F21E8FCE1044}" dt="2024-02-15T20:19:48.377" v="3831" actId="478"/>
          <ac:spMkLst>
            <pc:docMk/>
            <pc:sldMk cId="1003195028" sldId="2147474069"/>
            <ac:spMk id="2" creationId="{0A834E54-F06F-47FD-612E-71D92986295C}"/>
          </ac:spMkLst>
        </pc:spChg>
        <pc:spChg chg="add mod">
          <ac:chgData name="Zhan, Yao" userId="37b612df-86ed-4d30-8716-76c92ac1c591" providerId="ADAL" clId="{3F84E826-ADB0-4DE0-BA99-F21E8FCE1044}" dt="2024-02-15T20:20:11.821" v="3874" actId="1035"/>
          <ac:spMkLst>
            <pc:docMk/>
            <pc:sldMk cId="1003195028" sldId="2147474069"/>
            <ac:spMk id="8" creationId="{04ACF9C5-B98A-D552-B54E-7312E281B67F}"/>
          </ac:spMkLst>
        </pc:spChg>
        <pc:picChg chg="add">
          <ac:chgData name="Zhan, Yao" userId="37b612df-86ed-4d30-8716-76c92ac1c591" providerId="ADAL" clId="{3F84E826-ADB0-4DE0-BA99-F21E8FCE1044}" dt="2024-02-15T20:19:50.738" v="3832"/>
          <ac:picMkLst>
            <pc:docMk/>
            <pc:sldMk cId="1003195028" sldId="2147474069"/>
            <ac:picMk id="7" creationId="{E29782BA-F9CC-AF09-288D-9C828BF2DCBE}"/>
          </ac:picMkLst>
        </pc:picChg>
      </pc:sldChg>
      <pc:sldChg chg="addSp delSp modSp new mod">
        <pc:chgData name="Zhan, Yao" userId="37b612df-86ed-4d30-8716-76c92ac1c591" providerId="ADAL" clId="{3F84E826-ADB0-4DE0-BA99-F21E8FCE1044}" dt="2024-02-15T20:36:16.873" v="3880" actId="1076"/>
        <pc:sldMkLst>
          <pc:docMk/>
          <pc:sldMk cId="1852523552" sldId="2147474070"/>
        </pc:sldMkLst>
        <pc:spChg chg="del">
          <ac:chgData name="Zhan, Yao" userId="37b612df-86ed-4d30-8716-76c92ac1c591" providerId="ADAL" clId="{3F84E826-ADB0-4DE0-BA99-F21E8FCE1044}" dt="2024-02-15T20:36:00.689" v="3876" actId="478"/>
          <ac:spMkLst>
            <pc:docMk/>
            <pc:sldMk cId="1852523552" sldId="2147474070"/>
            <ac:spMk id="2" creationId="{52792DEB-DF6D-7F62-D72A-0B47505D9D3C}"/>
          </ac:spMkLst>
        </pc:spChg>
        <pc:picChg chg="add mod">
          <ac:chgData name="Zhan, Yao" userId="37b612df-86ed-4d30-8716-76c92ac1c591" providerId="ADAL" clId="{3F84E826-ADB0-4DE0-BA99-F21E8FCE1044}" dt="2024-02-15T20:36:16.873" v="3880" actId="1076"/>
          <ac:picMkLst>
            <pc:docMk/>
            <pc:sldMk cId="1852523552" sldId="2147474070"/>
            <ac:picMk id="7" creationId="{09BE0D49-AEB4-DFA2-C548-CB92F463EEC8}"/>
          </ac:picMkLst>
        </pc:picChg>
      </pc:sldChg>
      <pc:sldChg chg="addSp delSp modSp new mod">
        <pc:chgData name="Zhan, Yao" userId="37b612df-86ed-4d30-8716-76c92ac1c591" providerId="ADAL" clId="{3F84E826-ADB0-4DE0-BA99-F21E8FCE1044}" dt="2024-02-18T19:27:27.189" v="4413" actId="732"/>
        <pc:sldMkLst>
          <pc:docMk/>
          <pc:sldMk cId="2911772750" sldId="2147474071"/>
        </pc:sldMkLst>
        <pc:spChg chg="del">
          <ac:chgData name="Zhan, Yao" userId="37b612df-86ed-4d30-8716-76c92ac1c591" providerId="ADAL" clId="{3F84E826-ADB0-4DE0-BA99-F21E8FCE1044}" dt="2024-02-16T01:15:31.546" v="3882" actId="478"/>
          <ac:spMkLst>
            <pc:docMk/>
            <pc:sldMk cId="2911772750" sldId="2147474071"/>
            <ac:spMk id="2" creationId="{97FBC967-2866-20DB-9EFA-E86DEE94A01B}"/>
          </ac:spMkLst>
        </pc:spChg>
        <pc:spChg chg="add mod">
          <ac:chgData name="Zhan, Yao" userId="37b612df-86ed-4d30-8716-76c92ac1c591" providerId="ADAL" clId="{3F84E826-ADB0-4DE0-BA99-F21E8FCE1044}" dt="2024-02-17T20:47:51.627" v="4030" actId="1076"/>
          <ac:spMkLst>
            <pc:docMk/>
            <pc:sldMk cId="2911772750" sldId="2147474071"/>
            <ac:spMk id="9" creationId="{F82C4086-F68E-8432-175D-3D106BB729F0}"/>
          </ac:spMkLst>
        </pc:spChg>
        <pc:spChg chg="add mod">
          <ac:chgData name="Zhan, Yao" userId="37b612df-86ed-4d30-8716-76c92ac1c591" providerId="ADAL" clId="{3F84E826-ADB0-4DE0-BA99-F21E8FCE1044}" dt="2024-02-17T20:47:51.627" v="4030" actId="1076"/>
          <ac:spMkLst>
            <pc:docMk/>
            <pc:sldMk cId="2911772750" sldId="2147474071"/>
            <ac:spMk id="10" creationId="{048F08B3-EE67-3CFD-EED8-71B661984FFD}"/>
          </ac:spMkLst>
        </pc:spChg>
        <pc:picChg chg="add del mod">
          <ac:chgData name="Zhan, Yao" userId="37b612df-86ed-4d30-8716-76c92ac1c591" providerId="ADAL" clId="{3F84E826-ADB0-4DE0-BA99-F21E8FCE1044}" dt="2024-02-17T20:58:33.980" v="4048" actId="478"/>
          <ac:picMkLst>
            <pc:docMk/>
            <pc:sldMk cId="2911772750" sldId="2147474071"/>
            <ac:picMk id="2" creationId="{D6E2CC78-7CA2-F1B3-59C8-47B50122325F}"/>
          </ac:picMkLst>
        </pc:picChg>
        <pc:picChg chg="add del mod">
          <ac:chgData name="Zhan, Yao" userId="37b612df-86ed-4d30-8716-76c92ac1c591" providerId="ADAL" clId="{3F84E826-ADB0-4DE0-BA99-F21E8FCE1044}" dt="2024-02-16T01:15:51.605" v="3885" actId="478"/>
          <ac:picMkLst>
            <pc:docMk/>
            <pc:sldMk cId="2911772750" sldId="2147474071"/>
            <ac:picMk id="7" creationId="{573BB675-BC54-3012-656D-73A597E7B4C0}"/>
          </ac:picMkLst>
        </pc:picChg>
        <pc:picChg chg="add del mod modCrop">
          <ac:chgData name="Zhan, Yao" userId="37b612df-86ed-4d30-8716-76c92ac1c591" providerId="ADAL" clId="{3F84E826-ADB0-4DE0-BA99-F21E8FCE1044}" dt="2024-02-18T19:27:27.189" v="4413" actId="732"/>
          <ac:picMkLst>
            <pc:docMk/>
            <pc:sldMk cId="2911772750" sldId="2147474071"/>
            <ac:picMk id="7" creationId="{73C3FC6F-C25E-5D3A-F569-D9D3349213EA}"/>
          </ac:picMkLst>
        </pc:picChg>
        <pc:picChg chg="add del mod">
          <ac:chgData name="Zhan, Yao" userId="37b612df-86ed-4d30-8716-76c92ac1c591" providerId="ADAL" clId="{3F84E826-ADB0-4DE0-BA99-F21E8FCE1044}" dt="2024-02-17T22:16:34.854" v="4205" actId="478"/>
          <ac:picMkLst>
            <pc:docMk/>
            <pc:sldMk cId="2911772750" sldId="2147474071"/>
            <ac:picMk id="8" creationId="{001DB1B1-91AE-1454-669C-3BE208B99BB2}"/>
          </ac:picMkLst>
        </pc:picChg>
        <pc:picChg chg="add del mod">
          <ac:chgData name="Zhan, Yao" userId="37b612df-86ed-4d30-8716-76c92ac1c591" providerId="ADAL" clId="{3F84E826-ADB0-4DE0-BA99-F21E8FCE1044}" dt="2024-02-17T22:16:42.844" v="4208" actId="478"/>
          <ac:picMkLst>
            <pc:docMk/>
            <pc:sldMk cId="2911772750" sldId="2147474071"/>
            <ac:picMk id="11" creationId="{8FE0D0A0-EF3D-A267-4A20-CA54915D6D5D}"/>
          </ac:picMkLst>
        </pc:picChg>
        <pc:picChg chg="add del mod">
          <ac:chgData name="Zhan, Yao" userId="37b612df-86ed-4d30-8716-76c92ac1c591" providerId="ADAL" clId="{3F84E826-ADB0-4DE0-BA99-F21E8FCE1044}" dt="2024-02-17T22:17:33.872" v="4214" actId="478"/>
          <ac:picMkLst>
            <pc:docMk/>
            <pc:sldMk cId="2911772750" sldId="2147474071"/>
            <ac:picMk id="12" creationId="{28991668-C740-4C10-2B2A-38F5A3BA0ADA}"/>
          </ac:picMkLst>
        </pc:picChg>
        <pc:picChg chg="add mod">
          <ac:chgData name="Zhan, Yao" userId="37b612df-86ed-4d30-8716-76c92ac1c591" providerId="ADAL" clId="{3F84E826-ADB0-4DE0-BA99-F21E8FCE1044}" dt="2024-02-17T22:17:59.608" v="4222" actId="1076"/>
          <ac:picMkLst>
            <pc:docMk/>
            <pc:sldMk cId="2911772750" sldId="2147474071"/>
            <ac:picMk id="13" creationId="{75EDE8AD-AF04-7D8A-D154-732F920746AD}"/>
          </ac:picMkLst>
        </pc:picChg>
        <pc:picChg chg="add del">
          <ac:chgData name="Zhan, Yao" userId="37b612df-86ed-4d30-8716-76c92ac1c591" providerId="ADAL" clId="{3F84E826-ADB0-4DE0-BA99-F21E8FCE1044}" dt="2024-02-18T01:26:37.349" v="4311" actId="478"/>
          <ac:picMkLst>
            <pc:docMk/>
            <pc:sldMk cId="2911772750" sldId="2147474071"/>
            <ac:picMk id="14" creationId="{2BCEEFE6-7A58-63A9-3967-F85D968DF3F9}"/>
          </ac:picMkLst>
        </pc:picChg>
        <pc:picChg chg="add mod">
          <ac:chgData name="Zhan, Yao" userId="37b612df-86ed-4d30-8716-76c92ac1c591" providerId="ADAL" clId="{3F84E826-ADB0-4DE0-BA99-F21E8FCE1044}" dt="2024-02-18T01:26:36.549" v="4310" actId="14100"/>
          <ac:picMkLst>
            <pc:docMk/>
            <pc:sldMk cId="2911772750" sldId="2147474071"/>
            <ac:picMk id="15" creationId="{77841A0D-9F57-EBCE-3274-FE4730357A20}"/>
          </ac:picMkLst>
        </pc:picChg>
      </pc:sldChg>
      <pc:sldChg chg="new del">
        <pc:chgData name="Zhan, Yao" userId="37b612df-86ed-4d30-8716-76c92ac1c591" providerId="ADAL" clId="{3F84E826-ADB0-4DE0-BA99-F21E8FCE1044}" dt="2024-02-17T16:02:43.654" v="3975" actId="47"/>
        <pc:sldMkLst>
          <pc:docMk/>
          <pc:sldMk cId="847811101" sldId="2147474072"/>
        </pc:sldMkLst>
      </pc:sldChg>
      <pc:sldChg chg="new">
        <pc:chgData name="Zhan, Yao" userId="37b612df-86ed-4d30-8716-76c92ac1c591" providerId="ADAL" clId="{3F84E826-ADB0-4DE0-BA99-F21E8FCE1044}" dt="2024-02-17T16:02:41.623" v="3974" actId="680"/>
        <pc:sldMkLst>
          <pc:docMk/>
          <pc:sldMk cId="930859915" sldId="2147474073"/>
        </pc:sldMkLst>
      </pc:sldChg>
      <pc:sldChg chg="addSp delSp modSp new mod">
        <pc:chgData name="Zhan, Yao" userId="37b612df-86ed-4d30-8716-76c92ac1c591" providerId="ADAL" clId="{3F84E826-ADB0-4DE0-BA99-F21E8FCE1044}" dt="2024-02-17T22:21:54.425" v="4236" actId="1038"/>
        <pc:sldMkLst>
          <pc:docMk/>
          <pc:sldMk cId="2975093176" sldId="2147474074"/>
        </pc:sldMkLst>
        <pc:spChg chg="del">
          <ac:chgData name="Zhan, Yao" userId="37b612df-86ed-4d30-8716-76c92ac1c591" providerId="ADAL" clId="{3F84E826-ADB0-4DE0-BA99-F21E8FCE1044}" dt="2024-02-17T16:31:14.122" v="3977" actId="478"/>
          <ac:spMkLst>
            <pc:docMk/>
            <pc:sldMk cId="2975093176" sldId="2147474074"/>
            <ac:spMk id="2" creationId="{4B7F43F1-312C-EBD9-CA45-F803ACFCB922}"/>
          </ac:spMkLst>
        </pc:spChg>
        <pc:spChg chg="add del mod">
          <ac:chgData name="Zhan, Yao" userId="37b612df-86ed-4d30-8716-76c92ac1c591" providerId="ADAL" clId="{3F84E826-ADB0-4DE0-BA99-F21E8FCE1044}" dt="2024-02-17T21:46:14.563" v="4122" actId="478"/>
          <ac:spMkLst>
            <pc:docMk/>
            <pc:sldMk cId="2975093176" sldId="2147474074"/>
            <ac:spMk id="9" creationId="{F53F3834-9FB1-8454-EE95-45FAA110A662}"/>
          </ac:spMkLst>
        </pc:spChg>
        <pc:picChg chg="add del mod">
          <ac:chgData name="Zhan, Yao" userId="37b612df-86ed-4d30-8716-76c92ac1c591" providerId="ADAL" clId="{3F84E826-ADB0-4DE0-BA99-F21E8FCE1044}" dt="2024-02-17T20:51:10.444" v="4036" actId="478"/>
          <ac:picMkLst>
            <pc:docMk/>
            <pc:sldMk cId="2975093176" sldId="2147474074"/>
            <ac:picMk id="7" creationId="{1FC1F65B-976F-4652-ED66-97EA206B54DB}"/>
          </ac:picMkLst>
        </pc:picChg>
        <pc:picChg chg="add del mod">
          <ac:chgData name="Zhan, Yao" userId="37b612df-86ed-4d30-8716-76c92ac1c591" providerId="ADAL" clId="{3F84E826-ADB0-4DE0-BA99-F21E8FCE1044}" dt="2024-02-17T19:42:02.899" v="3991" actId="478"/>
          <ac:picMkLst>
            <pc:docMk/>
            <pc:sldMk cId="2975093176" sldId="2147474074"/>
            <ac:picMk id="8" creationId="{D605495B-79BA-FA2F-CAD4-10E354DD88B7}"/>
          </ac:picMkLst>
        </pc:picChg>
        <pc:picChg chg="add del mod">
          <ac:chgData name="Zhan, Yao" userId="37b612df-86ed-4d30-8716-76c92ac1c591" providerId="ADAL" clId="{3F84E826-ADB0-4DE0-BA99-F21E8FCE1044}" dt="2024-02-17T20:29:39.866" v="4003" actId="478"/>
          <ac:picMkLst>
            <pc:docMk/>
            <pc:sldMk cId="2975093176" sldId="2147474074"/>
            <ac:picMk id="10" creationId="{7858CAE7-1B7C-9BBE-8A02-3350737BF5FA}"/>
          </ac:picMkLst>
        </pc:picChg>
        <pc:picChg chg="add del mod">
          <ac:chgData name="Zhan, Yao" userId="37b612df-86ed-4d30-8716-76c92ac1c591" providerId="ADAL" clId="{3F84E826-ADB0-4DE0-BA99-F21E8FCE1044}" dt="2024-02-17T20:37:10.773" v="4012" actId="478"/>
          <ac:picMkLst>
            <pc:docMk/>
            <pc:sldMk cId="2975093176" sldId="2147474074"/>
            <ac:picMk id="11" creationId="{A41EBC0E-4322-1B5B-03C4-B236BB062C49}"/>
          </ac:picMkLst>
        </pc:picChg>
        <pc:picChg chg="add del mod">
          <ac:chgData name="Zhan, Yao" userId="37b612df-86ed-4d30-8716-76c92ac1c591" providerId="ADAL" clId="{3F84E826-ADB0-4DE0-BA99-F21E8FCE1044}" dt="2024-02-17T20:36:47.831" v="4008" actId="478"/>
          <ac:picMkLst>
            <pc:docMk/>
            <pc:sldMk cId="2975093176" sldId="2147474074"/>
            <ac:picMk id="12" creationId="{A50F795A-3524-37A3-16DC-7FDE8DADCCD8}"/>
          </ac:picMkLst>
        </pc:picChg>
        <pc:picChg chg="add del mod">
          <ac:chgData name="Zhan, Yao" userId="37b612df-86ed-4d30-8716-76c92ac1c591" providerId="ADAL" clId="{3F84E826-ADB0-4DE0-BA99-F21E8FCE1044}" dt="2024-02-17T21:43:18.983" v="4091" actId="478"/>
          <ac:picMkLst>
            <pc:docMk/>
            <pc:sldMk cId="2975093176" sldId="2147474074"/>
            <ac:picMk id="13" creationId="{88046D3B-EC4E-D0ED-3146-5D17C3BAA604}"/>
          </ac:picMkLst>
        </pc:picChg>
        <pc:picChg chg="add del mod">
          <ac:chgData name="Zhan, Yao" userId="37b612df-86ed-4d30-8716-76c92ac1c591" providerId="ADAL" clId="{3F84E826-ADB0-4DE0-BA99-F21E8FCE1044}" dt="2024-02-17T21:45:21.977" v="4106" actId="478"/>
          <ac:picMkLst>
            <pc:docMk/>
            <pc:sldMk cId="2975093176" sldId="2147474074"/>
            <ac:picMk id="14" creationId="{03A67AB3-581A-0FCE-F138-2251F1CAE858}"/>
          </ac:picMkLst>
        </pc:picChg>
        <pc:picChg chg="add del mod">
          <ac:chgData name="Zhan, Yao" userId="37b612df-86ed-4d30-8716-76c92ac1c591" providerId="ADAL" clId="{3F84E826-ADB0-4DE0-BA99-F21E8FCE1044}" dt="2024-02-17T21:45:50.207" v="4112" actId="478"/>
          <ac:picMkLst>
            <pc:docMk/>
            <pc:sldMk cId="2975093176" sldId="2147474074"/>
            <ac:picMk id="15" creationId="{7BB0DF3D-71A3-2B42-B9E0-4AF306E1877A}"/>
          </ac:picMkLst>
        </pc:picChg>
        <pc:picChg chg="add del mod">
          <ac:chgData name="Zhan, Yao" userId="37b612df-86ed-4d30-8716-76c92ac1c591" providerId="ADAL" clId="{3F84E826-ADB0-4DE0-BA99-F21E8FCE1044}" dt="2024-02-17T20:55:31.842" v="4044" actId="478"/>
          <ac:picMkLst>
            <pc:docMk/>
            <pc:sldMk cId="2975093176" sldId="2147474074"/>
            <ac:picMk id="16" creationId="{6441A824-B725-5833-3807-056983BA05B5}"/>
          </ac:picMkLst>
        </pc:picChg>
        <pc:picChg chg="add del mod">
          <ac:chgData name="Zhan, Yao" userId="37b612df-86ed-4d30-8716-76c92ac1c591" providerId="ADAL" clId="{3F84E826-ADB0-4DE0-BA99-F21E8FCE1044}" dt="2024-02-17T20:58:55.698" v="4054" actId="478"/>
          <ac:picMkLst>
            <pc:docMk/>
            <pc:sldMk cId="2975093176" sldId="2147474074"/>
            <ac:picMk id="17" creationId="{1B50FAD8-568D-C72F-3445-FBBB6636A24E}"/>
          </ac:picMkLst>
        </pc:picChg>
        <pc:picChg chg="add del mod">
          <ac:chgData name="Zhan, Yao" userId="37b612df-86ed-4d30-8716-76c92ac1c591" providerId="ADAL" clId="{3F84E826-ADB0-4DE0-BA99-F21E8FCE1044}" dt="2024-02-17T21:24:20.053" v="4064" actId="478"/>
          <ac:picMkLst>
            <pc:docMk/>
            <pc:sldMk cId="2975093176" sldId="2147474074"/>
            <ac:picMk id="18" creationId="{4BF1B9C9-4A76-27A9-6A7F-CCDDC4C3B3EA}"/>
          </ac:picMkLst>
        </pc:picChg>
        <pc:picChg chg="add del mod">
          <ac:chgData name="Zhan, Yao" userId="37b612df-86ed-4d30-8716-76c92ac1c591" providerId="ADAL" clId="{3F84E826-ADB0-4DE0-BA99-F21E8FCE1044}" dt="2024-02-17T21:26:20.962" v="4067" actId="478"/>
          <ac:picMkLst>
            <pc:docMk/>
            <pc:sldMk cId="2975093176" sldId="2147474074"/>
            <ac:picMk id="19" creationId="{558BA8B2-5DEF-C842-D75B-B0C844337B2F}"/>
          </ac:picMkLst>
        </pc:picChg>
        <pc:picChg chg="add del mod">
          <ac:chgData name="Zhan, Yao" userId="37b612df-86ed-4d30-8716-76c92ac1c591" providerId="ADAL" clId="{3F84E826-ADB0-4DE0-BA99-F21E8FCE1044}" dt="2024-02-17T21:27:09.932" v="4076" actId="478"/>
          <ac:picMkLst>
            <pc:docMk/>
            <pc:sldMk cId="2975093176" sldId="2147474074"/>
            <ac:picMk id="20" creationId="{60C44DF1-6EB8-A15E-386E-51C236430B59}"/>
          </ac:picMkLst>
        </pc:picChg>
        <pc:picChg chg="add del mod">
          <ac:chgData name="Zhan, Yao" userId="37b612df-86ed-4d30-8716-76c92ac1c591" providerId="ADAL" clId="{3F84E826-ADB0-4DE0-BA99-F21E8FCE1044}" dt="2024-02-17T22:02:53.737" v="4194" actId="478"/>
          <ac:picMkLst>
            <pc:docMk/>
            <pc:sldMk cId="2975093176" sldId="2147474074"/>
            <ac:picMk id="21" creationId="{31483463-DC44-9327-5DF2-1AEC91735B93}"/>
          </ac:picMkLst>
        </pc:picChg>
        <pc:picChg chg="add del mod">
          <ac:chgData name="Zhan, Yao" userId="37b612df-86ed-4d30-8716-76c92ac1c591" providerId="ADAL" clId="{3F84E826-ADB0-4DE0-BA99-F21E8FCE1044}" dt="2024-02-17T22:21:05.787" v="4223" actId="478"/>
          <ac:picMkLst>
            <pc:docMk/>
            <pc:sldMk cId="2975093176" sldId="2147474074"/>
            <ac:picMk id="22" creationId="{75C302F1-F910-26C4-E6E7-48A3F60CEA29}"/>
          </ac:picMkLst>
        </pc:picChg>
        <pc:picChg chg="add del mod">
          <ac:chgData name="Zhan, Yao" userId="37b612df-86ed-4d30-8716-76c92ac1c591" providerId="ADAL" clId="{3F84E826-ADB0-4DE0-BA99-F21E8FCE1044}" dt="2024-02-17T22:21:15.234" v="4226" actId="478"/>
          <ac:picMkLst>
            <pc:docMk/>
            <pc:sldMk cId="2975093176" sldId="2147474074"/>
            <ac:picMk id="23" creationId="{423557B9-CD26-5373-7082-6342FFFBAA3E}"/>
          </ac:picMkLst>
        </pc:picChg>
        <pc:picChg chg="add mod">
          <ac:chgData name="Zhan, Yao" userId="37b612df-86ed-4d30-8716-76c92ac1c591" providerId="ADAL" clId="{3F84E826-ADB0-4DE0-BA99-F21E8FCE1044}" dt="2024-02-17T22:03:22.179" v="4203" actId="1076"/>
          <ac:picMkLst>
            <pc:docMk/>
            <pc:sldMk cId="2975093176" sldId="2147474074"/>
            <ac:picMk id="24" creationId="{0A07AB6A-FDC9-981A-9EB9-2981C26946A7}"/>
          </ac:picMkLst>
        </pc:picChg>
        <pc:picChg chg="add mod">
          <ac:chgData name="Zhan, Yao" userId="37b612df-86ed-4d30-8716-76c92ac1c591" providerId="ADAL" clId="{3F84E826-ADB0-4DE0-BA99-F21E8FCE1044}" dt="2024-02-17T22:21:43.438" v="4231" actId="14100"/>
          <ac:picMkLst>
            <pc:docMk/>
            <pc:sldMk cId="2975093176" sldId="2147474074"/>
            <ac:picMk id="25" creationId="{318CAAFA-19E0-D898-9AB3-F229AEE8F61C}"/>
          </ac:picMkLst>
        </pc:picChg>
        <pc:picChg chg="add mod">
          <ac:chgData name="Zhan, Yao" userId="37b612df-86ed-4d30-8716-76c92ac1c591" providerId="ADAL" clId="{3F84E826-ADB0-4DE0-BA99-F21E8FCE1044}" dt="2024-02-17T22:21:54.425" v="4236" actId="1038"/>
          <ac:picMkLst>
            <pc:docMk/>
            <pc:sldMk cId="2975093176" sldId="2147474074"/>
            <ac:picMk id="26" creationId="{CEF70729-05BC-9D80-9D8E-258709AA66B4}"/>
          </ac:picMkLst>
        </pc:picChg>
        <pc:picChg chg="add del mod">
          <ac:chgData name="Zhan, Yao" userId="37b612df-86ed-4d30-8716-76c92ac1c591" providerId="ADAL" clId="{3F84E826-ADB0-4DE0-BA99-F21E8FCE1044}" dt="2024-02-17T21:59:44.128" v="4168" actId="478"/>
          <ac:picMkLst>
            <pc:docMk/>
            <pc:sldMk cId="2975093176" sldId="2147474074"/>
            <ac:picMk id="1026" creationId="{B9DB3CF0-771A-C484-1DDF-75FFD45D5327}"/>
          </ac:picMkLst>
        </pc:picChg>
      </pc:sldChg>
      <pc:sldChg chg="addSp delSp modSp new mod">
        <pc:chgData name="Zhan, Yao" userId="37b612df-86ed-4d30-8716-76c92ac1c591" providerId="ADAL" clId="{3F84E826-ADB0-4DE0-BA99-F21E8FCE1044}" dt="2024-02-17T22:22:37.188" v="4244" actId="1076"/>
        <pc:sldMkLst>
          <pc:docMk/>
          <pc:sldMk cId="1124324822" sldId="2147474075"/>
        </pc:sldMkLst>
        <pc:spChg chg="del">
          <ac:chgData name="Zhan, Yao" userId="37b612df-86ed-4d30-8716-76c92ac1c591" providerId="ADAL" clId="{3F84E826-ADB0-4DE0-BA99-F21E8FCE1044}" dt="2024-02-17T19:38:33.011" v="3983" actId="478"/>
          <ac:spMkLst>
            <pc:docMk/>
            <pc:sldMk cId="1124324822" sldId="2147474075"/>
            <ac:spMk id="2" creationId="{013F5DEF-4659-0C27-B031-CA5315B2D0F9}"/>
          </ac:spMkLst>
        </pc:spChg>
        <pc:spChg chg="add mod">
          <ac:chgData name="Zhan, Yao" userId="37b612df-86ed-4d30-8716-76c92ac1c591" providerId="ADAL" clId="{3F84E826-ADB0-4DE0-BA99-F21E8FCE1044}" dt="2024-02-17T20:52:14.352" v="4043" actId="1076"/>
          <ac:spMkLst>
            <pc:docMk/>
            <pc:sldMk cId="1124324822" sldId="2147474075"/>
            <ac:spMk id="10" creationId="{AB1E60EC-EFE4-7DD3-5765-D6C4B248DE46}"/>
          </ac:spMkLst>
        </pc:spChg>
        <pc:picChg chg="add del mod">
          <ac:chgData name="Zhan, Yao" userId="37b612df-86ed-4d30-8716-76c92ac1c591" providerId="ADAL" clId="{3F84E826-ADB0-4DE0-BA99-F21E8FCE1044}" dt="2024-02-17T19:41:54.119" v="3988" actId="478"/>
          <ac:picMkLst>
            <pc:docMk/>
            <pc:sldMk cId="1124324822" sldId="2147474075"/>
            <ac:picMk id="7" creationId="{AAFEE4B3-9E69-E6BE-A02B-17016FBD28DF}"/>
          </ac:picMkLst>
        </pc:picChg>
        <pc:picChg chg="add del mod">
          <ac:chgData name="Zhan, Yao" userId="37b612df-86ed-4d30-8716-76c92ac1c591" providerId="ADAL" clId="{3F84E826-ADB0-4DE0-BA99-F21E8FCE1044}" dt="2024-02-17T20:51:49.068" v="4039" actId="478"/>
          <ac:picMkLst>
            <pc:docMk/>
            <pc:sldMk cId="1124324822" sldId="2147474075"/>
            <ac:picMk id="8" creationId="{0B6A9F7C-41F2-65ED-1803-577878CF60F6}"/>
          </ac:picMkLst>
        </pc:picChg>
        <pc:picChg chg="add del mod">
          <ac:chgData name="Zhan, Yao" userId="37b612df-86ed-4d30-8716-76c92ac1c591" providerId="ADAL" clId="{3F84E826-ADB0-4DE0-BA99-F21E8FCE1044}" dt="2024-02-17T21:27:51.435" v="4083" actId="478"/>
          <ac:picMkLst>
            <pc:docMk/>
            <pc:sldMk cId="1124324822" sldId="2147474075"/>
            <ac:picMk id="9" creationId="{1D4F0FF8-0F26-2FB3-75F2-E9FD697037BD}"/>
          </ac:picMkLst>
        </pc:picChg>
        <pc:picChg chg="add del mod">
          <ac:chgData name="Zhan, Yao" userId="37b612df-86ed-4d30-8716-76c92ac1c591" providerId="ADAL" clId="{3F84E826-ADB0-4DE0-BA99-F21E8FCE1044}" dt="2024-02-17T22:00:49.977" v="4173" actId="478"/>
          <ac:picMkLst>
            <pc:docMk/>
            <pc:sldMk cId="1124324822" sldId="2147474075"/>
            <ac:picMk id="11" creationId="{F0BF7F14-76B9-4393-B896-37A27ED39690}"/>
          </ac:picMkLst>
        </pc:picChg>
        <pc:picChg chg="add del mod">
          <ac:chgData name="Zhan, Yao" userId="37b612df-86ed-4d30-8716-76c92ac1c591" providerId="ADAL" clId="{3F84E826-ADB0-4DE0-BA99-F21E8FCE1044}" dt="2024-02-17T22:22:07.985" v="4237" actId="478"/>
          <ac:picMkLst>
            <pc:docMk/>
            <pc:sldMk cId="1124324822" sldId="2147474075"/>
            <ac:picMk id="12" creationId="{55B8A41F-8A4A-AFF4-430D-CE84AE5CA35A}"/>
          </ac:picMkLst>
        </pc:picChg>
        <pc:picChg chg="add del mod">
          <ac:chgData name="Zhan, Yao" userId="37b612df-86ed-4d30-8716-76c92ac1c591" providerId="ADAL" clId="{3F84E826-ADB0-4DE0-BA99-F21E8FCE1044}" dt="2024-02-17T21:56:40.177" v="4164" actId="478"/>
          <ac:picMkLst>
            <pc:docMk/>
            <pc:sldMk cId="1124324822" sldId="2147474075"/>
            <ac:picMk id="13" creationId="{FE41497C-2F79-0E8E-7091-A6F0649A5441}"/>
          </ac:picMkLst>
        </pc:picChg>
        <pc:picChg chg="add del mod">
          <ac:chgData name="Zhan, Yao" userId="37b612df-86ed-4d30-8716-76c92ac1c591" providerId="ADAL" clId="{3F84E826-ADB0-4DE0-BA99-F21E8FCE1044}" dt="2024-02-17T21:56:41.839" v="4165" actId="478"/>
          <ac:picMkLst>
            <pc:docMk/>
            <pc:sldMk cId="1124324822" sldId="2147474075"/>
            <ac:picMk id="14" creationId="{3B816BD2-323D-9036-EAA7-A5E93E4CA65B}"/>
          </ac:picMkLst>
        </pc:picChg>
        <pc:picChg chg="add del mod">
          <ac:chgData name="Zhan, Yao" userId="37b612df-86ed-4d30-8716-76c92ac1c591" providerId="ADAL" clId="{3F84E826-ADB0-4DE0-BA99-F21E8FCE1044}" dt="2024-02-17T22:22:10.066" v="4238" actId="478"/>
          <ac:picMkLst>
            <pc:docMk/>
            <pc:sldMk cId="1124324822" sldId="2147474075"/>
            <ac:picMk id="15" creationId="{7F4357D2-C1A8-3C08-3415-956D4D2AA85B}"/>
          </ac:picMkLst>
        </pc:picChg>
        <pc:picChg chg="add mod">
          <ac:chgData name="Zhan, Yao" userId="37b612df-86ed-4d30-8716-76c92ac1c591" providerId="ADAL" clId="{3F84E826-ADB0-4DE0-BA99-F21E8FCE1044}" dt="2024-02-17T22:01:44.703" v="4191" actId="1076"/>
          <ac:picMkLst>
            <pc:docMk/>
            <pc:sldMk cId="1124324822" sldId="2147474075"/>
            <ac:picMk id="16" creationId="{298BF167-182B-6D0B-D41A-DD9B97C7009D}"/>
          </ac:picMkLst>
        </pc:picChg>
        <pc:picChg chg="add mod">
          <ac:chgData name="Zhan, Yao" userId="37b612df-86ed-4d30-8716-76c92ac1c591" providerId="ADAL" clId="{3F84E826-ADB0-4DE0-BA99-F21E8FCE1044}" dt="2024-02-17T22:22:19.445" v="4241" actId="1076"/>
          <ac:picMkLst>
            <pc:docMk/>
            <pc:sldMk cId="1124324822" sldId="2147474075"/>
            <ac:picMk id="17" creationId="{054A3E07-5D01-2836-7B3B-1BFF78D47C92}"/>
          </ac:picMkLst>
        </pc:picChg>
        <pc:picChg chg="add mod">
          <ac:chgData name="Zhan, Yao" userId="37b612df-86ed-4d30-8716-76c92ac1c591" providerId="ADAL" clId="{3F84E826-ADB0-4DE0-BA99-F21E8FCE1044}" dt="2024-02-17T22:22:37.188" v="4244" actId="1076"/>
          <ac:picMkLst>
            <pc:docMk/>
            <pc:sldMk cId="1124324822" sldId="2147474075"/>
            <ac:picMk id="18" creationId="{5AB4558E-743F-BAB7-9EE4-988A9531A806}"/>
          </ac:picMkLst>
        </pc:picChg>
      </pc:sldChg>
      <pc:sldChg chg="addSp delSp modSp new mod">
        <pc:chgData name="Zhan, Yao" userId="37b612df-86ed-4d30-8716-76c92ac1c591" providerId="ADAL" clId="{3F84E826-ADB0-4DE0-BA99-F21E8FCE1044}" dt="2024-02-18T02:31:33.365" v="4381" actId="1076"/>
        <pc:sldMkLst>
          <pc:docMk/>
          <pc:sldMk cId="2078211471" sldId="2147474076"/>
        </pc:sldMkLst>
        <pc:spChg chg="del">
          <ac:chgData name="Zhan, Yao" userId="37b612df-86ed-4d30-8716-76c92ac1c591" providerId="ADAL" clId="{3F84E826-ADB0-4DE0-BA99-F21E8FCE1044}" dt="2024-02-18T01:01:10.249" v="4246" actId="478"/>
          <ac:spMkLst>
            <pc:docMk/>
            <pc:sldMk cId="2078211471" sldId="2147474076"/>
            <ac:spMk id="2" creationId="{5C596E80-F86A-0089-B9B1-007ABBF5560F}"/>
          </ac:spMkLst>
        </pc:spChg>
        <pc:picChg chg="add del mod">
          <ac:chgData name="Zhan, Yao" userId="37b612df-86ed-4d30-8716-76c92ac1c591" providerId="ADAL" clId="{3F84E826-ADB0-4DE0-BA99-F21E8FCE1044}" dt="2024-02-18T01:15:52.306" v="4256" actId="478"/>
          <ac:picMkLst>
            <pc:docMk/>
            <pc:sldMk cId="2078211471" sldId="2147474076"/>
            <ac:picMk id="7" creationId="{CE58E75E-87B2-C089-3325-B76C19BD1F4B}"/>
          </ac:picMkLst>
        </pc:picChg>
        <pc:picChg chg="add del mod modCrop">
          <ac:chgData name="Zhan, Yao" userId="37b612df-86ed-4d30-8716-76c92ac1c591" providerId="ADAL" clId="{3F84E826-ADB0-4DE0-BA99-F21E8FCE1044}" dt="2024-02-18T01:26:45.019" v="4313" actId="478"/>
          <ac:picMkLst>
            <pc:docMk/>
            <pc:sldMk cId="2078211471" sldId="2147474076"/>
            <ac:picMk id="8" creationId="{19484FC4-176F-2356-8C31-E46415B6A301}"/>
          </ac:picMkLst>
        </pc:picChg>
        <pc:picChg chg="add del mod">
          <ac:chgData name="Zhan, Yao" userId="37b612df-86ed-4d30-8716-76c92ac1c591" providerId="ADAL" clId="{3F84E826-ADB0-4DE0-BA99-F21E8FCE1044}" dt="2024-02-18T01:18:48.552" v="4269" actId="478"/>
          <ac:picMkLst>
            <pc:docMk/>
            <pc:sldMk cId="2078211471" sldId="2147474076"/>
            <ac:picMk id="9" creationId="{161D68B2-9F75-C9D5-1C19-6F831A7FC442}"/>
          </ac:picMkLst>
        </pc:picChg>
        <pc:picChg chg="add del">
          <ac:chgData name="Zhan, Yao" userId="37b612df-86ed-4d30-8716-76c92ac1c591" providerId="ADAL" clId="{3F84E826-ADB0-4DE0-BA99-F21E8FCE1044}" dt="2024-02-18T01:19:29.625" v="4273" actId="478"/>
          <ac:picMkLst>
            <pc:docMk/>
            <pc:sldMk cId="2078211471" sldId="2147474076"/>
            <ac:picMk id="10" creationId="{68A2A54E-8654-7DD4-7552-3651AF40C206}"/>
          </ac:picMkLst>
        </pc:picChg>
        <pc:picChg chg="add del mod">
          <ac:chgData name="Zhan, Yao" userId="37b612df-86ed-4d30-8716-76c92ac1c591" providerId="ADAL" clId="{3F84E826-ADB0-4DE0-BA99-F21E8FCE1044}" dt="2024-02-18T01:19:31.402" v="4274" actId="478"/>
          <ac:picMkLst>
            <pc:docMk/>
            <pc:sldMk cId="2078211471" sldId="2147474076"/>
            <ac:picMk id="11" creationId="{8307B259-2A1A-2EC6-B5AE-391A13421482}"/>
          </ac:picMkLst>
        </pc:picChg>
        <pc:picChg chg="add del mod modCrop">
          <ac:chgData name="Zhan, Yao" userId="37b612df-86ed-4d30-8716-76c92ac1c591" providerId="ADAL" clId="{3F84E826-ADB0-4DE0-BA99-F21E8FCE1044}" dt="2024-02-18T01:22:36.650" v="4291" actId="478"/>
          <ac:picMkLst>
            <pc:docMk/>
            <pc:sldMk cId="2078211471" sldId="2147474076"/>
            <ac:picMk id="12" creationId="{1388C0F4-7ADC-2D9C-8428-06B758877EAC}"/>
          </ac:picMkLst>
        </pc:picChg>
        <pc:picChg chg="add del mod modCrop">
          <ac:chgData name="Zhan, Yao" userId="37b612df-86ed-4d30-8716-76c92ac1c591" providerId="ADAL" clId="{3F84E826-ADB0-4DE0-BA99-F21E8FCE1044}" dt="2024-02-18T01:22:36.650" v="4291" actId="478"/>
          <ac:picMkLst>
            <pc:docMk/>
            <pc:sldMk cId="2078211471" sldId="2147474076"/>
            <ac:picMk id="13" creationId="{6624171E-0ECF-A642-E46E-DF111D86FD67}"/>
          </ac:picMkLst>
        </pc:picChg>
        <pc:picChg chg="add del mod modCrop">
          <ac:chgData name="Zhan, Yao" userId="37b612df-86ed-4d30-8716-76c92ac1c591" providerId="ADAL" clId="{3F84E826-ADB0-4DE0-BA99-F21E8FCE1044}" dt="2024-02-18T01:22:36.650" v="4291" actId="478"/>
          <ac:picMkLst>
            <pc:docMk/>
            <pc:sldMk cId="2078211471" sldId="2147474076"/>
            <ac:picMk id="14" creationId="{989AC982-8D92-95AD-A586-38A20FB792BD}"/>
          </ac:picMkLst>
        </pc:picChg>
        <pc:picChg chg="add del mod modCrop">
          <ac:chgData name="Zhan, Yao" userId="37b612df-86ed-4d30-8716-76c92ac1c591" providerId="ADAL" clId="{3F84E826-ADB0-4DE0-BA99-F21E8FCE1044}" dt="2024-02-18T01:22:36.650" v="4291" actId="478"/>
          <ac:picMkLst>
            <pc:docMk/>
            <pc:sldMk cId="2078211471" sldId="2147474076"/>
            <ac:picMk id="15" creationId="{71F5A712-52C7-3815-0FA6-D6762ECEBA08}"/>
          </ac:picMkLst>
        </pc:picChg>
        <pc:picChg chg="add del">
          <ac:chgData name="Zhan, Yao" userId="37b612df-86ed-4d30-8716-76c92ac1c591" providerId="ADAL" clId="{3F84E826-ADB0-4DE0-BA99-F21E8FCE1044}" dt="2024-02-18T01:22:38.123" v="4292" actId="478"/>
          <ac:picMkLst>
            <pc:docMk/>
            <pc:sldMk cId="2078211471" sldId="2147474076"/>
            <ac:picMk id="16" creationId="{37999C0B-B6C8-D0B9-B640-73BABB28C281}"/>
          </ac:picMkLst>
        </pc:picChg>
        <pc:picChg chg="add del mod">
          <ac:chgData name="Zhan, Yao" userId="37b612df-86ed-4d30-8716-76c92ac1c591" providerId="ADAL" clId="{3F84E826-ADB0-4DE0-BA99-F21E8FCE1044}" dt="2024-02-18T01:27:26.716" v="4317" actId="478"/>
          <ac:picMkLst>
            <pc:docMk/>
            <pc:sldMk cId="2078211471" sldId="2147474076"/>
            <ac:picMk id="17" creationId="{3F6B86A1-5D2C-4000-BC89-A81D76F4BC1F}"/>
          </ac:picMkLst>
        </pc:picChg>
        <pc:picChg chg="add del mod">
          <ac:chgData name="Zhan, Yao" userId="37b612df-86ed-4d30-8716-76c92ac1c591" providerId="ADAL" clId="{3F84E826-ADB0-4DE0-BA99-F21E8FCE1044}" dt="2024-02-18T01:32:38.156" v="4327" actId="478"/>
          <ac:picMkLst>
            <pc:docMk/>
            <pc:sldMk cId="2078211471" sldId="2147474076"/>
            <ac:picMk id="18" creationId="{D7FA00BB-CA13-4F24-AE52-8C973045AC71}"/>
          </ac:picMkLst>
        </pc:picChg>
        <pc:picChg chg="add del mod">
          <ac:chgData name="Zhan, Yao" userId="37b612df-86ed-4d30-8716-76c92ac1c591" providerId="ADAL" clId="{3F84E826-ADB0-4DE0-BA99-F21E8FCE1044}" dt="2024-02-18T01:35:59.853" v="4332" actId="478"/>
          <ac:picMkLst>
            <pc:docMk/>
            <pc:sldMk cId="2078211471" sldId="2147474076"/>
            <ac:picMk id="19" creationId="{4425866E-BCE4-0D9C-CC79-332D4278BBC6}"/>
          </ac:picMkLst>
        </pc:picChg>
        <pc:picChg chg="add mod modCrop">
          <ac:chgData name="Zhan, Yao" userId="37b612df-86ed-4d30-8716-76c92ac1c591" providerId="ADAL" clId="{3F84E826-ADB0-4DE0-BA99-F21E8FCE1044}" dt="2024-02-18T01:52:51.886" v="4352" actId="1076"/>
          <ac:picMkLst>
            <pc:docMk/>
            <pc:sldMk cId="2078211471" sldId="2147474076"/>
            <ac:picMk id="20" creationId="{1B9597AC-9AC4-EF28-9AA4-42C365B697B2}"/>
          </ac:picMkLst>
        </pc:picChg>
        <pc:picChg chg="add mod modCrop">
          <ac:chgData name="Zhan, Yao" userId="37b612df-86ed-4d30-8716-76c92ac1c591" providerId="ADAL" clId="{3F84E826-ADB0-4DE0-BA99-F21E8FCE1044}" dt="2024-02-18T01:52:54.360" v="4353" actId="1076"/>
          <ac:picMkLst>
            <pc:docMk/>
            <pc:sldMk cId="2078211471" sldId="2147474076"/>
            <ac:picMk id="21" creationId="{D951C0C4-C597-AFA3-2D8F-8A5F15B36A8C}"/>
          </ac:picMkLst>
        </pc:picChg>
        <pc:picChg chg="add del mod">
          <ac:chgData name="Zhan, Yao" userId="37b612df-86ed-4d30-8716-76c92ac1c591" providerId="ADAL" clId="{3F84E826-ADB0-4DE0-BA99-F21E8FCE1044}" dt="2024-02-18T01:42:39.235" v="4342" actId="478"/>
          <ac:picMkLst>
            <pc:docMk/>
            <pc:sldMk cId="2078211471" sldId="2147474076"/>
            <ac:picMk id="22" creationId="{C0AB66D1-7F2F-3670-1B94-354ACA1493BC}"/>
          </ac:picMkLst>
        </pc:picChg>
        <pc:picChg chg="add del mod">
          <ac:chgData name="Zhan, Yao" userId="37b612df-86ed-4d30-8716-76c92ac1c591" providerId="ADAL" clId="{3F84E826-ADB0-4DE0-BA99-F21E8FCE1044}" dt="2024-02-18T01:49:48.214" v="4346" actId="478"/>
          <ac:picMkLst>
            <pc:docMk/>
            <pc:sldMk cId="2078211471" sldId="2147474076"/>
            <ac:picMk id="23" creationId="{F2FD33AD-CF3F-FA5F-50F3-1C3858F62F16}"/>
          </ac:picMkLst>
        </pc:picChg>
        <pc:picChg chg="add mod">
          <ac:chgData name="Zhan, Yao" userId="37b612df-86ed-4d30-8716-76c92ac1c591" providerId="ADAL" clId="{3F84E826-ADB0-4DE0-BA99-F21E8FCE1044}" dt="2024-02-18T02:31:33.365" v="4381" actId="1076"/>
          <ac:picMkLst>
            <pc:docMk/>
            <pc:sldMk cId="2078211471" sldId="2147474076"/>
            <ac:picMk id="24" creationId="{73BA62D1-371D-32C0-F17C-E21EA108D8B3}"/>
          </ac:picMkLst>
        </pc:picChg>
        <pc:picChg chg="add mod">
          <ac:chgData name="Zhan, Yao" userId="37b612df-86ed-4d30-8716-76c92ac1c591" providerId="ADAL" clId="{3F84E826-ADB0-4DE0-BA99-F21E8FCE1044}" dt="2024-02-18T02:10:22.634" v="4378" actId="1076"/>
          <ac:picMkLst>
            <pc:docMk/>
            <pc:sldMk cId="2078211471" sldId="2147474076"/>
            <ac:picMk id="25" creationId="{6FFC1C61-078D-211E-7420-D31F6A65B18C}"/>
          </ac:picMkLst>
        </pc:picChg>
        <pc:picChg chg="add del">
          <ac:chgData name="Zhan, Yao" userId="37b612df-86ed-4d30-8716-76c92ac1c591" providerId="ADAL" clId="{3F84E826-ADB0-4DE0-BA99-F21E8FCE1044}" dt="2024-02-18T02:09:08.187" v="4369" actId="478"/>
          <ac:picMkLst>
            <pc:docMk/>
            <pc:sldMk cId="2078211471" sldId="2147474076"/>
            <ac:picMk id="26" creationId="{FC2A40AF-566D-656D-0E86-D4433CCFC223}"/>
          </ac:picMkLst>
        </pc:picChg>
        <pc:picChg chg="add mod">
          <ac:chgData name="Zhan, Yao" userId="37b612df-86ed-4d30-8716-76c92ac1c591" providerId="ADAL" clId="{3F84E826-ADB0-4DE0-BA99-F21E8FCE1044}" dt="2024-02-18T02:10:26.774" v="4379" actId="1076"/>
          <ac:picMkLst>
            <pc:docMk/>
            <pc:sldMk cId="2078211471" sldId="2147474076"/>
            <ac:picMk id="27" creationId="{E002ED69-B792-E28C-750D-8EA8684549CF}"/>
          </ac:picMkLst>
        </pc:picChg>
      </pc:sldChg>
      <pc:sldChg chg="addSp delSp modSp new mod">
        <pc:chgData name="Zhan, Yao" userId="37b612df-86ed-4d30-8716-76c92ac1c591" providerId="ADAL" clId="{3F84E826-ADB0-4DE0-BA99-F21E8FCE1044}" dt="2024-02-18T02:43:33.988" v="4411" actId="1076"/>
        <pc:sldMkLst>
          <pc:docMk/>
          <pc:sldMk cId="3576114755" sldId="2147474077"/>
        </pc:sldMkLst>
        <pc:spChg chg="del">
          <ac:chgData name="Zhan, Yao" userId="37b612df-86ed-4d30-8716-76c92ac1c591" providerId="ADAL" clId="{3F84E826-ADB0-4DE0-BA99-F21E8FCE1044}" dt="2024-02-18T02:31:36.620" v="4382" actId="478"/>
          <ac:spMkLst>
            <pc:docMk/>
            <pc:sldMk cId="3576114755" sldId="2147474077"/>
            <ac:spMk id="2" creationId="{612DBBA0-C1C9-B522-4A7A-A644A529FF70}"/>
          </ac:spMkLst>
        </pc:spChg>
        <pc:spChg chg="add del mod">
          <ac:chgData name="Zhan, Yao" userId="37b612df-86ed-4d30-8716-76c92ac1c591" providerId="ADAL" clId="{3F84E826-ADB0-4DE0-BA99-F21E8FCE1044}" dt="2024-02-18T02:32:17.523" v="4388"/>
          <ac:spMkLst>
            <pc:docMk/>
            <pc:sldMk cId="3576114755" sldId="2147474077"/>
            <ac:spMk id="8" creationId="{E028DBCB-73F2-3F4A-7B41-C1BBC6AE859D}"/>
          </ac:spMkLst>
        </pc:spChg>
        <pc:picChg chg="add mod">
          <ac:chgData name="Zhan, Yao" userId="37b612df-86ed-4d30-8716-76c92ac1c591" providerId="ADAL" clId="{3F84E826-ADB0-4DE0-BA99-F21E8FCE1044}" dt="2024-02-18T02:43:33.988" v="4411" actId="1076"/>
          <ac:picMkLst>
            <pc:docMk/>
            <pc:sldMk cId="3576114755" sldId="2147474077"/>
            <ac:picMk id="7" creationId="{DD5BFB3B-745C-CD89-4092-C650C2BFA1D8}"/>
          </ac:picMkLst>
        </pc:picChg>
        <pc:picChg chg="add del mod modCrop">
          <ac:chgData name="Zhan, Yao" userId="37b612df-86ed-4d30-8716-76c92ac1c591" providerId="ADAL" clId="{3F84E826-ADB0-4DE0-BA99-F21E8FCE1044}" dt="2024-02-18T02:39:37.978" v="4401" actId="478"/>
          <ac:picMkLst>
            <pc:docMk/>
            <pc:sldMk cId="3576114755" sldId="2147474077"/>
            <ac:picMk id="10" creationId="{2EAB527D-0924-FAF3-0760-10D3A7267D47}"/>
          </ac:picMkLst>
        </pc:picChg>
        <pc:picChg chg="add mod modCrop">
          <ac:chgData name="Zhan, Yao" userId="37b612df-86ed-4d30-8716-76c92ac1c591" providerId="ADAL" clId="{3F84E826-ADB0-4DE0-BA99-F21E8FCE1044}" dt="2024-02-18T02:40:19.239" v="4410" actId="1076"/>
          <ac:picMkLst>
            <pc:docMk/>
            <pc:sldMk cId="3576114755" sldId="2147474077"/>
            <ac:picMk id="12" creationId="{94407612-3718-0A1B-FB48-82A67E84EE47}"/>
          </ac:picMkLst>
        </pc:picChg>
        <pc:picChg chg="add mod modCrop">
          <ac:chgData name="Zhan, Yao" userId="37b612df-86ed-4d30-8716-76c92ac1c591" providerId="ADAL" clId="{3F84E826-ADB0-4DE0-BA99-F21E8FCE1044}" dt="2024-02-18T02:40:09.077" v="4407" actId="14100"/>
          <ac:picMkLst>
            <pc:docMk/>
            <pc:sldMk cId="3576114755" sldId="2147474077"/>
            <ac:picMk id="14" creationId="{1ED57F5F-DFE8-BF48-DB48-0A9C1AFC2B8C}"/>
          </ac:picMkLst>
        </pc:picChg>
      </pc:sldChg>
      <pc:sldChg chg="addSp delSp modSp new mod">
        <pc:chgData name="Zhan, Yao" userId="37b612df-86ed-4d30-8716-76c92ac1c591" providerId="ADAL" clId="{3F84E826-ADB0-4DE0-BA99-F21E8FCE1044}" dt="2024-02-21T02:25:41.027" v="4583" actId="1076"/>
        <pc:sldMkLst>
          <pc:docMk/>
          <pc:sldMk cId="2759603344" sldId="2147474078"/>
        </pc:sldMkLst>
        <pc:spChg chg="del">
          <ac:chgData name="Zhan, Yao" userId="37b612df-86ed-4d30-8716-76c92ac1c591" providerId="ADAL" clId="{3F84E826-ADB0-4DE0-BA99-F21E8FCE1044}" dt="2024-02-18T22:58:42.726" v="4414" actId="478"/>
          <ac:spMkLst>
            <pc:docMk/>
            <pc:sldMk cId="2759603344" sldId="2147474078"/>
            <ac:spMk id="2" creationId="{B0E2EED4-2699-11A5-24DC-17DFDF3CD5BA}"/>
          </ac:spMkLst>
        </pc:spChg>
        <pc:picChg chg="add mod">
          <ac:chgData name="Zhan, Yao" userId="37b612df-86ed-4d30-8716-76c92ac1c591" providerId="ADAL" clId="{3F84E826-ADB0-4DE0-BA99-F21E8FCE1044}" dt="2024-02-21T02:25:19.830" v="4580" actId="1076"/>
          <ac:picMkLst>
            <pc:docMk/>
            <pc:sldMk cId="2759603344" sldId="2147474078"/>
            <ac:picMk id="2" creationId="{19D33859-CFF8-3DBE-718D-DF27540CC624}"/>
          </ac:picMkLst>
        </pc:picChg>
        <pc:picChg chg="add del mod">
          <ac:chgData name="Zhan, Yao" userId="37b612df-86ed-4d30-8716-76c92ac1c591" providerId="ADAL" clId="{3F84E826-ADB0-4DE0-BA99-F21E8FCE1044}" dt="2024-02-19T02:56:41.918" v="4423" actId="478"/>
          <ac:picMkLst>
            <pc:docMk/>
            <pc:sldMk cId="2759603344" sldId="2147474078"/>
            <ac:picMk id="7" creationId="{91B0B58A-3248-8028-D68F-EBE85D134C09}"/>
          </ac:picMkLst>
        </pc:picChg>
        <pc:picChg chg="add mod">
          <ac:chgData name="Zhan, Yao" userId="37b612df-86ed-4d30-8716-76c92ac1c591" providerId="ADAL" clId="{3F84E826-ADB0-4DE0-BA99-F21E8FCE1044}" dt="2024-02-21T02:25:41.027" v="4583" actId="1076"/>
          <ac:picMkLst>
            <pc:docMk/>
            <pc:sldMk cId="2759603344" sldId="2147474078"/>
            <ac:picMk id="7" creationId="{C9C19251-F610-0755-3265-39DE5A0418E2}"/>
          </ac:picMkLst>
        </pc:picChg>
        <pc:picChg chg="add del mod modCrop">
          <ac:chgData name="Zhan, Yao" userId="37b612df-86ed-4d30-8716-76c92ac1c591" providerId="ADAL" clId="{3F84E826-ADB0-4DE0-BA99-F21E8FCE1044}" dt="2024-02-21T02:24:53.978" v="4569" actId="478"/>
          <ac:picMkLst>
            <pc:docMk/>
            <pc:sldMk cId="2759603344" sldId="2147474078"/>
            <ac:picMk id="8" creationId="{E1946BD8-7D60-0375-67F5-FC321610E630}"/>
          </ac:picMkLst>
        </pc:picChg>
        <pc:picChg chg="add mod">
          <ac:chgData name="Zhan, Yao" userId="37b612df-86ed-4d30-8716-76c92ac1c591" providerId="ADAL" clId="{3F84E826-ADB0-4DE0-BA99-F21E8FCE1044}" dt="2024-02-21T02:25:18.256" v="4579" actId="14100"/>
          <ac:picMkLst>
            <pc:docMk/>
            <pc:sldMk cId="2759603344" sldId="2147474078"/>
            <ac:picMk id="9" creationId="{D4851D58-AD51-0D41-3A0E-B4D1A97D83EB}"/>
          </ac:picMkLst>
        </pc:picChg>
      </pc:sldChg>
      <pc:sldChg chg="addSp delSp modSp new del mod">
        <pc:chgData name="Zhan, Yao" userId="37b612df-86ed-4d30-8716-76c92ac1c591" providerId="ADAL" clId="{3F84E826-ADB0-4DE0-BA99-F21E8FCE1044}" dt="2024-02-21T02:25:43.466" v="4584" actId="47"/>
        <pc:sldMkLst>
          <pc:docMk/>
          <pc:sldMk cId="51407787" sldId="2147474079"/>
        </pc:sldMkLst>
        <pc:spChg chg="del">
          <ac:chgData name="Zhan, Yao" userId="37b612df-86ed-4d30-8716-76c92ac1c591" providerId="ADAL" clId="{3F84E826-ADB0-4DE0-BA99-F21E8FCE1044}" dt="2024-02-19T01:43:23.206" v="4419" actId="478"/>
          <ac:spMkLst>
            <pc:docMk/>
            <pc:sldMk cId="51407787" sldId="2147474079"/>
            <ac:spMk id="2" creationId="{6C62E0D0-FF34-9058-17F9-1C777FC04E2E}"/>
          </ac:spMkLst>
        </pc:spChg>
        <pc:picChg chg="add del mod">
          <ac:chgData name="Zhan, Yao" userId="37b612df-86ed-4d30-8716-76c92ac1c591" providerId="ADAL" clId="{3F84E826-ADB0-4DE0-BA99-F21E8FCE1044}" dt="2024-02-19T02:58:58.797" v="4427" actId="478"/>
          <ac:picMkLst>
            <pc:docMk/>
            <pc:sldMk cId="51407787" sldId="2147474079"/>
            <ac:picMk id="7" creationId="{83ED2933-5323-3D27-372E-A9EBCC2F6B07}"/>
          </ac:picMkLst>
        </pc:picChg>
        <pc:picChg chg="add mod">
          <ac:chgData name="Zhan, Yao" userId="37b612df-86ed-4d30-8716-76c92ac1c591" providerId="ADAL" clId="{3F84E826-ADB0-4DE0-BA99-F21E8FCE1044}" dt="2024-02-19T02:59:07.285" v="4430" actId="1076"/>
          <ac:picMkLst>
            <pc:docMk/>
            <pc:sldMk cId="51407787" sldId="2147474079"/>
            <ac:picMk id="8" creationId="{F99526AD-5806-76D1-A07B-51296E4170D8}"/>
          </ac:picMkLst>
        </pc:picChg>
      </pc:sldChg>
      <pc:sldChg chg="addSp delSp modSp new del mod">
        <pc:chgData name="Zhan, Yao" userId="37b612df-86ed-4d30-8716-76c92ac1c591" providerId="ADAL" clId="{3F84E826-ADB0-4DE0-BA99-F21E8FCE1044}" dt="2024-02-21T02:25:44.635" v="4585" actId="47"/>
        <pc:sldMkLst>
          <pc:docMk/>
          <pc:sldMk cId="83924656" sldId="2147474080"/>
        </pc:sldMkLst>
        <pc:spChg chg="del">
          <ac:chgData name="Zhan, Yao" userId="37b612df-86ed-4d30-8716-76c92ac1c591" providerId="ADAL" clId="{3F84E826-ADB0-4DE0-BA99-F21E8FCE1044}" dt="2024-02-19T03:04:19.950" v="4432" actId="478"/>
          <ac:spMkLst>
            <pc:docMk/>
            <pc:sldMk cId="83924656" sldId="2147474080"/>
            <ac:spMk id="2" creationId="{5709E458-2E6B-A001-9774-7A041E96958E}"/>
          </ac:spMkLst>
        </pc:spChg>
        <pc:picChg chg="add del mod modCrop">
          <ac:chgData name="Zhan, Yao" userId="37b612df-86ed-4d30-8716-76c92ac1c591" providerId="ADAL" clId="{3F84E826-ADB0-4DE0-BA99-F21E8FCE1044}" dt="2024-02-19T03:47:28.144" v="4449" actId="478"/>
          <ac:picMkLst>
            <pc:docMk/>
            <pc:sldMk cId="83924656" sldId="2147474080"/>
            <ac:picMk id="7" creationId="{AEC4E076-CE71-F3B6-56DC-8D8E7D7DE601}"/>
          </ac:picMkLst>
        </pc:picChg>
        <pc:picChg chg="add del mod modCrop">
          <ac:chgData name="Zhan, Yao" userId="37b612df-86ed-4d30-8716-76c92ac1c591" providerId="ADAL" clId="{3F84E826-ADB0-4DE0-BA99-F21E8FCE1044}" dt="2024-02-19T03:45:03.512" v="4446" actId="478"/>
          <ac:picMkLst>
            <pc:docMk/>
            <pc:sldMk cId="83924656" sldId="2147474080"/>
            <ac:picMk id="8" creationId="{62B0ED44-04B2-E758-9B51-205005AEBC81}"/>
          </ac:picMkLst>
        </pc:picChg>
        <pc:picChg chg="add del">
          <ac:chgData name="Zhan, Yao" userId="37b612df-86ed-4d30-8716-76c92ac1c591" providerId="ADAL" clId="{3F84E826-ADB0-4DE0-BA99-F21E8FCE1044}" dt="2024-02-19T03:45:11.999" v="4448" actId="478"/>
          <ac:picMkLst>
            <pc:docMk/>
            <pc:sldMk cId="83924656" sldId="2147474080"/>
            <ac:picMk id="9" creationId="{8A93813D-BCC8-708E-2647-721C7AB427EE}"/>
          </ac:picMkLst>
        </pc:picChg>
        <pc:picChg chg="add del mod modCrop">
          <ac:chgData name="Zhan, Yao" userId="37b612df-86ed-4d30-8716-76c92ac1c591" providerId="ADAL" clId="{3F84E826-ADB0-4DE0-BA99-F21E8FCE1044}" dt="2024-02-19T14:13:15.322" v="4473" actId="478"/>
          <ac:picMkLst>
            <pc:docMk/>
            <pc:sldMk cId="83924656" sldId="2147474080"/>
            <ac:picMk id="10" creationId="{8149DDF5-C6ED-BBF8-2FE3-BEAE07045C92}"/>
          </ac:picMkLst>
        </pc:picChg>
        <pc:picChg chg="add del mod modCrop">
          <ac:chgData name="Zhan, Yao" userId="37b612df-86ed-4d30-8716-76c92ac1c591" providerId="ADAL" clId="{3F84E826-ADB0-4DE0-BA99-F21E8FCE1044}" dt="2024-02-19T14:13:19.022" v="4474" actId="478"/>
          <ac:picMkLst>
            <pc:docMk/>
            <pc:sldMk cId="83924656" sldId="2147474080"/>
            <ac:picMk id="11" creationId="{2995DB1A-51D0-0E8F-1EE8-0C751E9EC591}"/>
          </ac:picMkLst>
        </pc:picChg>
        <pc:picChg chg="add del mod">
          <ac:chgData name="Zhan, Yao" userId="37b612df-86ed-4d30-8716-76c92ac1c591" providerId="ADAL" clId="{3F84E826-ADB0-4DE0-BA99-F21E8FCE1044}" dt="2024-02-19T14:17:58.229" v="4486" actId="478"/>
          <ac:picMkLst>
            <pc:docMk/>
            <pc:sldMk cId="83924656" sldId="2147474080"/>
            <ac:picMk id="12" creationId="{987C8CEE-ACBE-8C2A-7972-AC686CF22ABC}"/>
          </ac:picMkLst>
        </pc:picChg>
        <pc:picChg chg="add mod">
          <ac:chgData name="Zhan, Yao" userId="37b612df-86ed-4d30-8716-76c92ac1c591" providerId="ADAL" clId="{3F84E826-ADB0-4DE0-BA99-F21E8FCE1044}" dt="2024-02-19T14:19:20.884" v="4490" actId="1076"/>
          <ac:picMkLst>
            <pc:docMk/>
            <pc:sldMk cId="83924656" sldId="2147474080"/>
            <ac:picMk id="13" creationId="{FEF7A521-385C-ABE3-5CD0-854886F2EF1C}"/>
          </ac:picMkLst>
        </pc:picChg>
      </pc:sldChg>
      <pc:sldChg chg="addSp delSp modSp new mod ord modShow">
        <pc:chgData name="Zhan, Yao" userId="37b612df-86ed-4d30-8716-76c92ac1c591" providerId="ADAL" clId="{3F84E826-ADB0-4DE0-BA99-F21E8FCE1044}" dt="2024-02-21T03:36:39.083" v="4668"/>
        <pc:sldMkLst>
          <pc:docMk/>
          <pc:sldMk cId="1513084141" sldId="2147474081"/>
        </pc:sldMkLst>
        <pc:spChg chg="del mod">
          <ac:chgData name="Zhan, Yao" userId="37b612df-86ed-4d30-8716-76c92ac1c591" providerId="ADAL" clId="{3F84E826-ADB0-4DE0-BA99-F21E8FCE1044}" dt="2024-02-19T14:50:55.639" v="4493" actId="478"/>
          <ac:spMkLst>
            <pc:docMk/>
            <pc:sldMk cId="1513084141" sldId="2147474081"/>
            <ac:spMk id="2" creationId="{61DA257B-014A-0144-A43D-A59E64853C7D}"/>
          </ac:spMkLst>
        </pc:spChg>
        <pc:spChg chg="add del mod">
          <ac:chgData name="Zhan, Yao" userId="37b612df-86ed-4d30-8716-76c92ac1c591" providerId="ADAL" clId="{3F84E826-ADB0-4DE0-BA99-F21E8FCE1044}" dt="2024-02-19T14:50:56.968" v="4494" actId="478"/>
          <ac:spMkLst>
            <pc:docMk/>
            <pc:sldMk cId="1513084141" sldId="2147474081"/>
            <ac:spMk id="8" creationId="{62604577-650E-47E7-B49F-DC49CAA45BE7}"/>
          </ac:spMkLst>
        </pc:spChg>
        <pc:picChg chg="add mod">
          <ac:chgData name="Zhan, Yao" userId="37b612df-86ed-4d30-8716-76c92ac1c591" providerId="ADAL" clId="{3F84E826-ADB0-4DE0-BA99-F21E8FCE1044}" dt="2024-02-19T14:51:04.441" v="4497" actId="1076"/>
          <ac:picMkLst>
            <pc:docMk/>
            <pc:sldMk cId="1513084141" sldId="2147474081"/>
            <ac:picMk id="9" creationId="{7BA20393-A32A-D94B-BBB1-778619256757}"/>
          </ac:picMkLst>
        </pc:picChg>
      </pc:sldChg>
      <pc:sldChg chg="addSp delSp modSp new mod ord">
        <pc:chgData name="Zhan, Yao" userId="37b612df-86ed-4d30-8716-76c92ac1c591" providerId="ADAL" clId="{3F84E826-ADB0-4DE0-BA99-F21E8FCE1044}" dt="2024-02-21T03:30:16.042" v="4649" actId="1076"/>
        <pc:sldMkLst>
          <pc:docMk/>
          <pc:sldMk cId="1163634577" sldId="2147474082"/>
        </pc:sldMkLst>
        <pc:spChg chg="del">
          <ac:chgData name="Zhan, Yao" userId="37b612df-86ed-4d30-8716-76c92ac1c591" providerId="ADAL" clId="{3F84E826-ADB0-4DE0-BA99-F21E8FCE1044}" dt="2024-02-19T14:55:56.209" v="4499" actId="478"/>
          <ac:spMkLst>
            <pc:docMk/>
            <pc:sldMk cId="1163634577" sldId="2147474082"/>
            <ac:spMk id="2" creationId="{D6345528-0059-4B51-2E30-3BBE4D134510}"/>
          </ac:spMkLst>
        </pc:spChg>
        <pc:picChg chg="add mod">
          <ac:chgData name="Zhan, Yao" userId="37b612df-86ed-4d30-8716-76c92ac1c591" providerId="ADAL" clId="{3F84E826-ADB0-4DE0-BA99-F21E8FCE1044}" dt="2024-02-21T03:30:16.042" v="4649" actId="1076"/>
          <ac:picMkLst>
            <pc:docMk/>
            <pc:sldMk cId="1163634577" sldId="2147474082"/>
            <ac:picMk id="2" creationId="{9DE9CB14-6948-205D-F878-4A9CC73B9089}"/>
          </ac:picMkLst>
        </pc:picChg>
        <pc:picChg chg="add del mod">
          <ac:chgData name="Zhan, Yao" userId="37b612df-86ed-4d30-8716-76c92ac1c591" providerId="ADAL" clId="{3F84E826-ADB0-4DE0-BA99-F21E8FCE1044}" dt="2024-02-19T16:18:34.418" v="4518" actId="478"/>
          <ac:picMkLst>
            <pc:docMk/>
            <pc:sldMk cId="1163634577" sldId="2147474082"/>
            <ac:picMk id="7" creationId="{6D3BA097-823D-2B8F-4234-C14F0D4FC620}"/>
          </ac:picMkLst>
        </pc:picChg>
        <pc:picChg chg="add mod modCrop">
          <ac:chgData name="Zhan, Yao" userId="37b612df-86ed-4d30-8716-76c92ac1c591" providerId="ADAL" clId="{3F84E826-ADB0-4DE0-BA99-F21E8FCE1044}" dt="2024-02-21T03:29:56.062" v="4646" actId="1076"/>
          <ac:picMkLst>
            <pc:docMk/>
            <pc:sldMk cId="1163634577" sldId="2147474082"/>
            <ac:picMk id="8" creationId="{5D48F0E5-2655-73A9-42A0-3B7CDE8E7A11}"/>
          </ac:picMkLst>
        </pc:picChg>
      </pc:sldChg>
      <pc:sldChg chg="addSp delSp modSp new del mod">
        <pc:chgData name="Zhan, Yao" userId="37b612df-86ed-4d30-8716-76c92ac1c591" providerId="ADAL" clId="{3F84E826-ADB0-4DE0-BA99-F21E8FCE1044}" dt="2024-02-21T03:30:27.427" v="4652" actId="47"/>
        <pc:sldMkLst>
          <pc:docMk/>
          <pc:sldMk cId="3340436614" sldId="2147474083"/>
        </pc:sldMkLst>
        <pc:spChg chg="del">
          <ac:chgData name="Zhan, Yao" userId="37b612df-86ed-4d30-8716-76c92ac1c591" providerId="ADAL" clId="{3F84E826-ADB0-4DE0-BA99-F21E8FCE1044}" dt="2024-02-19T14:59:17.390" v="4505" actId="478"/>
          <ac:spMkLst>
            <pc:docMk/>
            <pc:sldMk cId="3340436614" sldId="2147474083"/>
            <ac:spMk id="2" creationId="{EED54828-87CA-DC22-92C4-EDA8CBF0ECFB}"/>
          </ac:spMkLst>
        </pc:spChg>
        <pc:picChg chg="add mod">
          <ac:chgData name="Zhan, Yao" userId="37b612df-86ed-4d30-8716-76c92ac1c591" providerId="ADAL" clId="{3F84E826-ADB0-4DE0-BA99-F21E8FCE1044}" dt="2024-02-21T03:29:31.672" v="4643" actId="1076"/>
          <ac:picMkLst>
            <pc:docMk/>
            <pc:sldMk cId="3340436614" sldId="2147474083"/>
            <ac:picMk id="2" creationId="{A5E3F1DC-2D50-F504-FE5A-6B5F51A763AE}"/>
          </ac:picMkLst>
        </pc:picChg>
        <pc:picChg chg="add del mod">
          <ac:chgData name="Zhan, Yao" userId="37b612df-86ed-4d30-8716-76c92ac1c591" providerId="ADAL" clId="{3F84E826-ADB0-4DE0-BA99-F21E8FCE1044}" dt="2024-02-21T03:29:03.055" v="4641" actId="478"/>
          <ac:picMkLst>
            <pc:docMk/>
            <pc:sldMk cId="3340436614" sldId="2147474083"/>
            <ac:picMk id="7" creationId="{D81E725D-CD70-4B2F-C012-7754D90C7940}"/>
          </ac:picMkLst>
        </pc:picChg>
      </pc:sldChg>
      <pc:sldChg chg="addSp delSp modSp new mod">
        <pc:chgData name="Zhan, Yao" userId="37b612df-86ed-4d30-8716-76c92ac1c591" providerId="ADAL" clId="{3F84E826-ADB0-4DE0-BA99-F21E8FCE1044}" dt="2024-02-19T16:02:28.262" v="4514" actId="14100"/>
        <pc:sldMkLst>
          <pc:docMk/>
          <pc:sldMk cId="1119979106" sldId="2147474084"/>
        </pc:sldMkLst>
        <pc:spChg chg="del">
          <ac:chgData name="Zhan, Yao" userId="37b612df-86ed-4d30-8716-76c92ac1c591" providerId="ADAL" clId="{3F84E826-ADB0-4DE0-BA99-F21E8FCE1044}" dt="2024-02-19T16:02:23.312" v="4512" actId="478"/>
          <ac:spMkLst>
            <pc:docMk/>
            <pc:sldMk cId="1119979106" sldId="2147474084"/>
            <ac:spMk id="2" creationId="{7C488F92-B504-359C-F6D6-124625C56D5E}"/>
          </ac:spMkLst>
        </pc:spChg>
        <pc:picChg chg="add mod">
          <ac:chgData name="Zhan, Yao" userId="37b612df-86ed-4d30-8716-76c92ac1c591" providerId="ADAL" clId="{3F84E826-ADB0-4DE0-BA99-F21E8FCE1044}" dt="2024-02-19T16:02:28.262" v="4514" actId="14100"/>
          <ac:picMkLst>
            <pc:docMk/>
            <pc:sldMk cId="1119979106" sldId="2147474084"/>
            <ac:picMk id="7" creationId="{78EE5DB6-B6E5-4688-A1F5-ED25594C0CF7}"/>
          </ac:picMkLst>
        </pc:picChg>
      </pc:sldChg>
      <pc:sldChg chg="addSp delSp new del mod">
        <pc:chgData name="Zhan, Yao" userId="37b612df-86ed-4d30-8716-76c92ac1c591" providerId="ADAL" clId="{3F84E826-ADB0-4DE0-BA99-F21E8FCE1044}" dt="2024-02-21T03:32:42.990" v="4663" actId="47"/>
        <pc:sldMkLst>
          <pc:docMk/>
          <pc:sldMk cId="301660374" sldId="2147474085"/>
        </pc:sldMkLst>
        <pc:spChg chg="del">
          <ac:chgData name="Zhan, Yao" userId="37b612df-86ed-4d30-8716-76c92ac1c591" providerId="ADAL" clId="{3F84E826-ADB0-4DE0-BA99-F21E8FCE1044}" dt="2024-02-19T16:17:55.518" v="4516" actId="478"/>
          <ac:spMkLst>
            <pc:docMk/>
            <pc:sldMk cId="301660374" sldId="2147474085"/>
            <ac:spMk id="2" creationId="{21E078FC-6680-67AB-A537-DEAE8E7BC463}"/>
          </ac:spMkLst>
        </pc:spChg>
        <pc:picChg chg="add">
          <ac:chgData name="Zhan, Yao" userId="37b612df-86ed-4d30-8716-76c92ac1c591" providerId="ADAL" clId="{3F84E826-ADB0-4DE0-BA99-F21E8FCE1044}" dt="2024-02-19T16:17:57.643" v="4517"/>
          <ac:picMkLst>
            <pc:docMk/>
            <pc:sldMk cId="301660374" sldId="2147474085"/>
            <ac:picMk id="7" creationId="{2141A181-9E1A-D625-616A-BC9F4BE07185}"/>
          </ac:picMkLst>
        </pc:picChg>
      </pc:sldChg>
      <pc:sldChg chg="addSp delSp modSp new del mod">
        <pc:chgData name="Zhan, Yao" userId="37b612df-86ed-4d30-8716-76c92ac1c591" providerId="ADAL" clId="{3F84E826-ADB0-4DE0-BA99-F21E8FCE1044}" dt="2024-02-21T03:32:43.652" v="4664" actId="47"/>
        <pc:sldMkLst>
          <pc:docMk/>
          <pc:sldMk cId="1764340609" sldId="2147474086"/>
        </pc:sldMkLst>
        <pc:spChg chg="del">
          <ac:chgData name="Zhan, Yao" userId="37b612df-86ed-4d30-8716-76c92ac1c591" providerId="ADAL" clId="{3F84E826-ADB0-4DE0-BA99-F21E8FCE1044}" dt="2024-02-19T16:19:48.352" v="4521" actId="478"/>
          <ac:spMkLst>
            <pc:docMk/>
            <pc:sldMk cId="1764340609" sldId="2147474086"/>
            <ac:spMk id="2" creationId="{A76FA790-4661-F437-BF12-14075EA7D9A8}"/>
          </ac:spMkLst>
        </pc:spChg>
        <pc:picChg chg="add mod">
          <ac:chgData name="Zhan, Yao" userId="37b612df-86ed-4d30-8716-76c92ac1c591" providerId="ADAL" clId="{3F84E826-ADB0-4DE0-BA99-F21E8FCE1044}" dt="2024-02-19T16:19:53.680" v="4523" actId="1076"/>
          <ac:picMkLst>
            <pc:docMk/>
            <pc:sldMk cId="1764340609" sldId="2147474086"/>
            <ac:picMk id="7" creationId="{0CE24B18-74E1-BAD0-164B-703C27C42B54}"/>
          </ac:picMkLst>
        </pc:picChg>
      </pc:sldChg>
      <pc:sldChg chg="addSp delSp modSp new mod ord">
        <pc:chgData name="Zhan, Yao" userId="37b612df-86ed-4d30-8716-76c92ac1c591" providerId="ADAL" clId="{3F84E826-ADB0-4DE0-BA99-F21E8FCE1044}" dt="2024-02-21T03:36:37.512" v="4666"/>
        <pc:sldMkLst>
          <pc:docMk/>
          <pc:sldMk cId="804255583" sldId="2147474087"/>
        </pc:sldMkLst>
        <pc:spChg chg="del">
          <ac:chgData name="Zhan, Yao" userId="37b612df-86ed-4d30-8716-76c92ac1c591" providerId="ADAL" clId="{3F84E826-ADB0-4DE0-BA99-F21E8FCE1044}" dt="2024-02-19T17:12:20.532" v="4525" actId="478"/>
          <ac:spMkLst>
            <pc:docMk/>
            <pc:sldMk cId="804255583" sldId="2147474087"/>
            <ac:spMk id="2" creationId="{264B7C42-8CE7-3F2C-4227-17A64BA3815B}"/>
          </ac:spMkLst>
        </pc:spChg>
        <pc:picChg chg="add mod">
          <ac:chgData name="Zhan, Yao" userId="37b612df-86ed-4d30-8716-76c92ac1c591" providerId="ADAL" clId="{3F84E826-ADB0-4DE0-BA99-F21E8FCE1044}" dt="2024-02-19T17:12:25.933" v="4527" actId="14100"/>
          <ac:picMkLst>
            <pc:docMk/>
            <pc:sldMk cId="804255583" sldId="2147474087"/>
            <ac:picMk id="7" creationId="{A0696E9D-7426-CF0D-6CC5-83E8140CE699}"/>
          </ac:picMkLst>
        </pc:picChg>
      </pc:sldChg>
      <pc:sldChg chg="addSp delSp modSp new del mod">
        <pc:chgData name="Zhan, Yao" userId="37b612df-86ed-4d30-8716-76c92ac1c591" providerId="ADAL" clId="{3F84E826-ADB0-4DE0-BA99-F21E8FCE1044}" dt="2024-02-21T03:27:45.048" v="4635" actId="47"/>
        <pc:sldMkLst>
          <pc:docMk/>
          <pc:sldMk cId="1067866998" sldId="2147474088"/>
        </pc:sldMkLst>
        <pc:spChg chg="del">
          <ac:chgData name="Zhan, Yao" userId="37b612df-86ed-4d30-8716-76c92ac1c591" providerId="ADAL" clId="{3F84E826-ADB0-4DE0-BA99-F21E8FCE1044}" dt="2024-02-20T00:13:57.957" v="4529" actId="478"/>
          <ac:spMkLst>
            <pc:docMk/>
            <pc:sldMk cId="1067866998" sldId="2147474088"/>
            <ac:spMk id="2" creationId="{DB6630EF-EFAB-2750-D7C2-8C81164AD65A}"/>
          </ac:spMkLst>
        </pc:spChg>
        <pc:picChg chg="add mod">
          <ac:chgData name="Zhan, Yao" userId="37b612df-86ed-4d30-8716-76c92ac1c591" providerId="ADAL" clId="{3F84E826-ADB0-4DE0-BA99-F21E8FCE1044}" dt="2024-02-20T00:14:04.415" v="4532" actId="1076"/>
          <ac:picMkLst>
            <pc:docMk/>
            <pc:sldMk cId="1067866998" sldId="2147474088"/>
            <ac:picMk id="7" creationId="{9EC4CC8A-4A7A-E000-8FB5-92F53BA28B78}"/>
          </ac:picMkLst>
        </pc:picChg>
      </pc:sldChg>
      <pc:sldChg chg="addSp delSp new add del mod">
        <pc:chgData name="Zhan, Yao" userId="37b612df-86ed-4d30-8716-76c92ac1c591" providerId="ADAL" clId="{3F84E826-ADB0-4DE0-BA99-F21E8FCE1044}" dt="2024-02-21T03:27:41.133" v="4634" actId="47"/>
        <pc:sldMkLst>
          <pc:docMk/>
          <pc:sldMk cId="2578583777" sldId="2147474089"/>
        </pc:sldMkLst>
        <pc:spChg chg="del">
          <ac:chgData name="Zhan, Yao" userId="37b612df-86ed-4d30-8716-76c92ac1c591" providerId="ADAL" clId="{3F84E826-ADB0-4DE0-BA99-F21E8FCE1044}" dt="2024-02-20T00:26:29.131" v="4534" actId="478"/>
          <ac:spMkLst>
            <pc:docMk/>
            <pc:sldMk cId="2578583777" sldId="2147474089"/>
            <ac:spMk id="2" creationId="{65FE76AC-C256-056E-7756-91AEEC6F8CA3}"/>
          </ac:spMkLst>
        </pc:spChg>
        <pc:picChg chg="add">
          <ac:chgData name="Zhan, Yao" userId="37b612df-86ed-4d30-8716-76c92ac1c591" providerId="ADAL" clId="{3F84E826-ADB0-4DE0-BA99-F21E8FCE1044}" dt="2024-02-20T00:26:31.458" v="4535"/>
          <ac:picMkLst>
            <pc:docMk/>
            <pc:sldMk cId="2578583777" sldId="2147474089"/>
            <ac:picMk id="7" creationId="{ABE4D649-1707-95EF-2D0B-8107362E344E}"/>
          </ac:picMkLst>
        </pc:picChg>
      </pc:sldChg>
      <pc:sldChg chg="addSp delSp new del mod">
        <pc:chgData name="Zhan, Yao" userId="37b612df-86ed-4d30-8716-76c92ac1c591" providerId="ADAL" clId="{3F84E826-ADB0-4DE0-BA99-F21E8FCE1044}" dt="2024-02-21T03:27:46.782" v="4637" actId="47"/>
        <pc:sldMkLst>
          <pc:docMk/>
          <pc:sldMk cId="3024116171" sldId="2147474090"/>
        </pc:sldMkLst>
        <pc:spChg chg="del">
          <ac:chgData name="Zhan, Yao" userId="37b612df-86ed-4d30-8716-76c92ac1c591" providerId="ADAL" clId="{3F84E826-ADB0-4DE0-BA99-F21E8FCE1044}" dt="2024-02-20T00:27:12.211" v="4537" actId="478"/>
          <ac:spMkLst>
            <pc:docMk/>
            <pc:sldMk cId="3024116171" sldId="2147474090"/>
            <ac:spMk id="2" creationId="{67E1EF7F-A529-2BCE-3521-5BA7934D172E}"/>
          </ac:spMkLst>
        </pc:spChg>
        <pc:picChg chg="add">
          <ac:chgData name="Zhan, Yao" userId="37b612df-86ed-4d30-8716-76c92ac1c591" providerId="ADAL" clId="{3F84E826-ADB0-4DE0-BA99-F21E8FCE1044}" dt="2024-02-20T00:27:14.284" v="4538"/>
          <ac:picMkLst>
            <pc:docMk/>
            <pc:sldMk cId="3024116171" sldId="2147474090"/>
            <ac:picMk id="7" creationId="{663CDC82-2D17-14C3-217E-CFFBA15622ED}"/>
          </ac:picMkLst>
        </pc:picChg>
      </pc:sldChg>
      <pc:sldChg chg="addSp delSp new del mod">
        <pc:chgData name="Zhan, Yao" userId="37b612df-86ed-4d30-8716-76c92ac1c591" providerId="ADAL" clId="{3F84E826-ADB0-4DE0-BA99-F21E8FCE1044}" dt="2024-02-21T03:27:45.791" v="4636" actId="47"/>
        <pc:sldMkLst>
          <pc:docMk/>
          <pc:sldMk cId="2905709670" sldId="2147474091"/>
        </pc:sldMkLst>
        <pc:spChg chg="del">
          <ac:chgData name="Zhan, Yao" userId="37b612df-86ed-4d30-8716-76c92ac1c591" providerId="ADAL" clId="{3F84E826-ADB0-4DE0-BA99-F21E8FCE1044}" dt="2024-02-20T00:28:12.684" v="4540" actId="478"/>
          <ac:spMkLst>
            <pc:docMk/>
            <pc:sldMk cId="2905709670" sldId="2147474091"/>
            <ac:spMk id="2" creationId="{C6183E5E-5704-DF54-A4B8-AD2D6AB8C3EA}"/>
          </ac:spMkLst>
        </pc:spChg>
        <pc:picChg chg="add">
          <ac:chgData name="Zhan, Yao" userId="37b612df-86ed-4d30-8716-76c92ac1c591" providerId="ADAL" clId="{3F84E826-ADB0-4DE0-BA99-F21E8FCE1044}" dt="2024-02-20T00:28:15.160" v="4541"/>
          <ac:picMkLst>
            <pc:docMk/>
            <pc:sldMk cId="2905709670" sldId="2147474091"/>
            <ac:picMk id="7" creationId="{83D8CA3A-9225-4CDE-447D-59AB7E41544B}"/>
          </ac:picMkLst>
        </pc:picChg>
      </pc:sldChg>
      <pc:sldChg chg="addSp delSp modSp new del mod">
        <pc:chgData name="Zhan, Yao" userId="37b612df-86ed-4d30-8716-76c92ac1c591" providerId="ADAL" clId="{3F84E826-ADB0-4DE0-BA99-F21E8FCE1044}" dt="2024-02-21T02:25:47.610" v="4586" actId="47"/>
        <pc:sldMkLst>
          <pc:docMk/>
          <pc:sldMk cId="1759636611" sldId="2147474092"/>
        </pc:sldMkLst>
        <pc:spChg chg="del">
          <ac:chgData name="Zhan, Yao" userId="37b612df-86ed-4d30-8716-76c92ac1c591" providerId="ADAL" clId="{3F84E826-ADB0-4DE0-BA99-F21E8FCE1044}" dt="2024-02-20T20:59:48.237" v="4543" actId="478"/>
          <ac:spMkLst>
            <pc:docMk/>
            <pc:sldMk cId="1759636611" sldId="2147474092"/>
            <ac:spMk id="2" creationId="{6F023D84-5B30-EEB6-5C5A-1A39587D6210}"/>
          </ac:spMkLst>
        </pc:spChg>
        <pc:picChg chg="add del mod modCrop">
          <ac:chgData name="Zhan, Yao" userId="37b612df-86ed-4d30-8716-76c92ac1c591" providerId="ADAL" clId="{3F84E826-ADB0-4DE0-BA99-F21E8FCE1044}" dt="2024-02-20T21:10:33.329" v="4548" actId="478"/>
          <ac:picMkLst>
            <pc:docMk/>
            <pc:sldMk cId="1759636611" sldId="2147474092"/>
            <ac:picMk id="8" creationId="{EB24EE0C-F335-FB9E-64F9-BB7576E43BC7}"/>
          </ac:picMkLst>
        </pc:picChg>
        <pc:picChg chg="add del mod modCrop">
          <ac:chgData name="Zhan, Yao" userId="37b612df-86ed-4d30-8716-76c92ac1c591" providerId="ADAL" clId="{3F84E826-ADB0-4DE0-BA99-F21E8FCE1044}" dt="2024-02-20T22:33:13.337" v="4553" actId="478"/>
          <ac:picMkLst>
            <pc:docMk/>
            <pc:sldMk cId="1759636611" sldId="2147474092"/>
            <ac:picMk id="10" creationId="{45349A4E-53A2-F7E6-3970-892C5781EA51}"/>
          </ac:picMkLst>
        </pc:picChg>
        <pc:picChg chg="add mod modCrop">
          <ac:chgData name="Zhan, Yao" userId="37b612df-86ed-4d30-8716-76c92ac1c591" providerId="ADAL" clId="{3F84E826-ADB0-4DE0-BA99-F21E8FCE1044}" dt="2024-02-21T02:16:28.748" v="4567" actId="1076"/>
          <ac:picMkLst>
            <pc:docMk/>
            <pc:sldMk cId="1759636611" sldId="2147474092"/>
            <ac:picMk id="12" creationId="{576D6268-3166-5352-5D61-B7D3FFD17A98}"/>
          </ac:picMkLst>
        </pc:picChg>
      </pc:sldChg>
      <pc:sldChg chg="addSp delSp modSp new mod">
        <pc:chgData name="Zhan, Yao" userId="37b612df-86ed-4d30-8716-76c92ac1c591" providerId="ADAL" clId="{3F84E826-ADB0-4DE0-BA99-F21E8FCE1044}" dt="2024-02-21T03:07:05.557" v="4597" actId="1076"/>
        <pc:sldMkLst>
          <pc:docMk/>
          <pc:sldMk cId="1460243573" sldId="2147474093"/>
        </pc:sldMkLst>
        <pc:spChg chg="del">
          <ac:chgData name="Zhan, Yao" userId="37b612df-86ed-4d30-8716-76c92ac1c591" providerId="ADAL" clId="{3F84E826-ADB0-4DE0-BA99-F21E8FCE1044}" dt="2024-02-21T01:41:05.060" v="4558" actId="478"/>
          <ac:spMkLst>
            <pc:docMk/>
            <pc:sldMk cId="1460243573" sldId="2147474093"/>
            <ac:spMk id="2" creationId="{FCBB0977-052C-FE84-7F69-F5DF7B37E718}"/>
          </ac:spMkLst>
        </pc:spChg>
        <pc:picChg chg="add mod">
          <ac:chgData name="Zhan, Yao" userId="37b612df-86ed-4d30-8716-76c92ac1c591" providerId="ADAL" clId="{3F84E826-ADB0-4DE0-BA99-F21E8FCE1044}" dt="2024-02-21T02:21:44.604" v="4568" actId="1076"/>
          <ac:picMkLst>
            <pc:docMk/>
            <pc:sldMk cId="1460243573" sldId="2147474093"/>
            <ac:picMk id="2" creationId="{280C0CC2-1B23-3427-F226-49919532FD2C}"/>
          </ac:picMkLst>
        </pc:picChg>
        <pc:picChg chg="add del">
          <ac:chgData name="Zhan, Yao" userId="37b612df-86ed-4d30-8716-76c92ac1c591" providerId="ADAL" clId="{3F84E826-ADB0-4DE0-BA99-F21E8FCE1044}" dt="2024-02-21T02:04:14.844" v="4561" actId="478"/>
          <ac:picMkLst>
            <pc:docMk/>
            <pc:sldMk cId="1460243573" sldId="2147474093"/>
            <ac:picMk id="7" creationId="{E1BDB26C-67AE-7C74-8D13-27C4419992E5}"/>
          </ac:picMkLst>
        </pc:picChg>
        <pc:picChg chg="add mod">
          <ac:chgData name="Zhan, Yao" userId="37b612df-86ed-4d30-8716-76c92ac1c591" providerId="ADAL" clId="{3F84E826-ADB0-4DE0-BA99-F21E8FCE1044}" dt="2024-02-21T03:07:05.557" v="4597" actId="1076"/>
          <ac:picMkLst>
            <pc:docMk/>
            <pc:sldMk cId="1460243573" sldId="2147474093"/>
            <ac:picMk id="8" creationId="{784A46A4-95BC-008E-3380-E29304C931CF}"/>
          </ac:picMkLst>
        </pc:picChg>
      </pc:sldChg>
      <pc:sldChg chg="addSp delSp modSp new mod">
        <pc:chgData name="Zhan, Yao" userId="37b612df-86ed-4d30-8716-76c92ac1c591" providerId="ADAL" clId="{3F84E826-ADB0-4DE0-BA99-F21E8FCE1044}" dt="2024-02-21T03:23:45.484" v="4629" actId="1076"/>
        <pc:sldMkLst>
          <pc:docMk/>
          <pc:sldMk cId="2345723647" sldId="2147474094"/>
        </pc:sldMkLst>
        <pc:spChg chg="del">
          <ac:chgData name="Zhan, Yao" userId="37b612df-86ed-4d30-8716-76c92ac1c591" providerId="ADAL" clId="{3F84E826-ADB0-4DE0-BA99-F21E8FCE1044}" dt="2024-02-21T03:05:13.708" v="4588" actId="478"/>
          <ac:spMkLst>
            <pc:docMk/>
            <pc:sldMk cId="2345723647" sldId="2147474094"/>
            <ac:spMk id="2" creationId="{242C16F1-B2AA-25F8-E5A9-7F3DD8A43CF4}"/>
          </ac:spMkLst>
        </pc:spChg>
        <pc:picChg chg="add del mod">
          <ac:chgData name="Zhan, Yao" userId="37b612df-86ed-4d30-8716-76c92ac1c591" providerId="ADAL" clId="{3F84E826-ADB0-4DE0-BA99-F21E8FCE1044}" dt="2024-02-21T03:07:22.096" v="4598" actId="478"/>
          <ac:picMkLst>
            <pc:docMk/>
            <pc:sldMk cId="2345723647" sldId="2147474094"/>
            <ac:picMk id="7" creationId="{C158C08C-EAF9-F496-F145-CF147E273FD1}"/>
          </ac:picMkLst>
        </pc:picChg>
        <pc:picChg chg="add mod">
          <ac:chgData name="Zhan, Yao" userId="37b612df-86ed-4d30-8716-76c92ac1c591" providerId="ADAL" clId="{3F84E826-ADB0-4DE0-BA99-F21E8FCE1044}" dt="2024-02-21T03:23:45.484" v="4629" actId="1076"/>
          <ac:picMkLst>
            <pc:docMk/>
            <pc:sldMk cId="2345723647" sldId="2147474094"/>
            <ac:picMk id="8" creationId="{F2C93266-7853-D2F1-BBEF-EF3B5C7C995F}"/>
          </ac:picMkLst>
        </pc:picChg>
        <pc:picChg chg="add del mod modCrop">
          <ac:chgData name="Zhan, Yao" userId="37b612df-86ed-4d30-8716-76c92ac1c591" providerId="ADAL" clId="{3F84E826-ADB0-4DE0-BA99-F21E8FCE1044}" dt="2024-02-21T03:19:34.964" v="4603" actId="478"/>
          <ac:picMkLst>
            <pc:docMk/>
            <pc:sldMk cId="2345723647" sldId="2147474094"/>
            <ac:picMk id="10" creationId="{A6A2783A-04CB-52B8-8B93-AE83762BBB1D}"/>
          </ac:picMkLst>
        </pc:picChg>
        <pc:picChg chg="add mod modCrop">
          <ac:chgData name="Zhan, Yao" userId="37b612df-86ed-4d30-8716-76c92ac1c591" providerId="ADAL" clId="{3F84E826-ADB0-4DE0-BA99-F21E8FCE1044}" dt="2024-02-21T03:23:45.484" v="4629" actId="1076"/>
          <ac:picMkLst>
            <pc:docMk/>
            <pc:sldMk cId="2345723647" sldId="2147474094"/>
            <ac:picMk id="12" creationId="{CA284A57-4AB2-0606-B756-5CB0466476C9}"/>
          </ac:picMkLst>
        </pc:picChg>
        <pc:picChg chg="add mod modCrop">
          <ac:chgData name="Zhan, Yao" userId="37b612df-86ed-4d30-8716-76c92ac1c591" providerId="ADAL" clId="{3F84E826-ADB0-4DE0-BA99-F21E8FCE1044}" dt="2024-02-21T03:23:45.484" v="4629" actId="1076"/>
          <ac:picMkLst>
            <pc:docMk/>
            <pc:sldMk cId="2345723647" sldId="2147474094"/>
            <ac:picMk id="14" creationId="{BA50CECB-EE1B-7AC5-E280-D74C1FE7424B}"/>
          </ac:picMkLst>
        </pc:picChg>
      </pc:sldChg>
      <pc:sldChg chg="addSp delSp modSp new mod">
        <pc:chgData name="Zhan, Yao" userId="37b612df-86ed-4d30-8716-76c92ac1c591" providerId="ADAL" clId="{3F84E826-ADB0-4DE0-BA99-F21E8FCE1044}" dt="2024-02-21T03:32:35.484" v="4662" actId="1076"/>
        <pc:sldMkLst>
          <pc:docMk/>
          <pc:sldMk cId="972418001" sldId="2147474095"/>
        </pc:sldMkLst>
        <pc:spChg chg="del">
          <ac:chgData name="Zhan, Yao" userId="37b612df-86ed-4d30-8716-76c92ac1c591" providerId="ADAL" clId="{3F84E826-ADB0-4DE0-BA99-F21E8FCE1044}" dt="2024-02-21T03:31:14.747" v="4654" actId="478"/>
          <ac:spMkLst>
            <pc:docMk/>
            <pc:sldMk cId="972418001" sldId="2147474095"/>
            <ac:spMk id="2" creationId="{D27500B2-A1DE-DF9B-8198-C9F133E19713}"/>
          </ac:spMkLst>
        </pc:spChg>
        <pc:picChg chg="add mod modCrop">
          <ac:chgData name="Zhan, Yao" userId="37b612df-86ed-4d30-8716-76c92ac1c591" providerId="ADAL" clId="{3F84E826-ADB0-4DE0-BA99-F21E8FCE1044}" dt="2024-02-21T03:31:31.252" v="4659" actId="1076"/>
          <ac:picMkLst>
            <pc:docMk/>
            <pc:sldMk cId="972418001" sldId="2147474095"/>
            <ac:picMk id="7" creationId="{89FDCE40-F7F0-F7D2-7ACD-5B1EB6E03442}"/>
          </ac:picMkLst>
        </pc:picChg>
        <pc:picChg chg="add mod">
          <ac:chgData name="Zhan, Yao" userId="37b612df-86ed-4d30-8716-76c92ac1c591" providerId="ADAL" clId="{3F84E826-ADB0-4DE0-BA99-F21E8FCE1044}" dt="2024-02-21T03:32:35.484" v="4662" actId="1076"/>
          <ac:picMkLst>
            <pc:docMk/>
            <pc:sldMk cId="972418001" sldId="2147474095"/>
            <ac:picMk id="8" creationId="{6CA2A009-851C-EAC8-7DDD-980174D200D0}"/>
          </ac:picMkLst>
        </pc:picChg>
      </pc:sldChg>
    </pc:docChg>
  </pc:docChgLst>
</pc:chgInfo>
</file>

<file path=ppt/comments/modernComment_7FFE544D_1C73D5C6.xml><?xml version="1.0" encoding="utf-8"?>
<p188:cmLst xmlns:a="http://schemas.openxmlformats.org/drawingml/2006/main" xmlns:r="http://schemas.openxmlformats.org/officeDocument/2006/relationships" xmlns:p188="http://schemas.microsoft.com/office/powerpoint/2018/8/main">
  <p188:cm id="{CCFE6E3F-AE47-5B42-A220-D70B66FBA0CE}" authorId="{6EF26633-DDB9-A441-B3A0-9E86DA30F178}" created="2024-02-09T20:50:59.304">
    <pc:sldMkLst xmlns:pc="http://schemas.microsoft.com/office/powerpoint/2013/main/command">
      <pc:docMk/>
      <pc:sldMk cId="3822735020" sldId="2147374153"/>
    </pc:sldMkLst>
    <p188:replyLst>
      <p188:reply id="{ED221C9B-45B0-4502-80EA-DB7F2A9FE9B4}" authorId="{1C852130-E830-BD80-7B6D-E40253BACC4F}" created="2024-02-12T17:05:55.379">
        <p188:txBody>
          <a:bodyPr/>
          <a:lstStyle/>
          <a:p>
            <a:r>
              <a:rPr lang="en-US"/>
              <a:t>Yes, i can do further analysis on this subset comparison</a:t>
            </a:r>
          </a:p>
        </p188:txBody>
      </p188:reply>
    </p188:replyLst>
    <p188:txBody>
      <a:bodyPr/>
      <a:lstStyle/>
      <a:p>
        <a:r>
          <a:rPr lang="en-US"/>
          <a:t>[@Zhan, Yao] this group of NK cells seems quite interesting to me bcz it only appears when NK cells interact with tumor. My hypothesis is they might be the activated (or if go more agresively say, effective) NK cells since they are so close to tumor population in this plot. Can we extract the transcriptome information and compare to the major green NK population? It will be even better if we can compare with in vitro actively proliferating NK (no tumor) cells.</a:t>
        </a:r>
      </a:p>
    </p188:txBody>
  </p188:cm>
  <p188:cm id="{CC36FCC0-A3E5-C642-9F65-64D3B435780F}" authorId="{6EF26633-DDB9-A441-B3A0-9E86DA30F178}" created="2024-02-09T21:06:12.580">
    <ac:deMkLst xmlns:ac="http://schemas.microsoft.com/office/drawing/2013/main/command">
      <pc:docMk xmlns:pc="http://schemas.microsoft.com/office/powerpoint/2013/main/command"/>
      <pc:sldMk xmlns:pc="http://schemas.microsoft.com/office/powerpoint/2013/main/command" cId="477353414" sldId="2147374157"/>
      <ac:spMk id="28" creationId="{B623FAB3-0DD8-C1B2-18D9-604B42B992AF}"/>
    </ac:deMkLst>
    <p188:txBody>
      <a:bodyPr/>
      <a:lstStyle/>
      <a:p>
        <a:r>
          <a:rPr lang="en-US"/>
          <a:t>[@Zhan, Yao] this group of tumor cells only appeared in fresh tumor sample or Blood tumor sample without seeing NK cells. My hypothesis is they are more accessible to CAR-NK killing. Maybe can be used as markers for patient selection?</a:t>
        </a:r>
      </a:p>
    </p188:txBody>
  </p188:cm>
  <p188:cm id="{876EAAE3-84D9-B14B-A116-A9CE25DEB606}" authorId="{6EF26633-DDB9-A441-B3A0-9E86DA30F178}" created="2024-02-09T21:25:27.677" startDate="2024-02-09T21:32:31.867" dueDate="2024-02-09T21:32:31.867" assignedTo="{1C852130-E830-BD80-7B6D-E40253BACC4F}" title="@Zhan, Yao FT Batch 1 need to exclude from this slide. As these was mixed before isolation and mostly NK cells contamination.">
    <ac:deMkLst xmlns:ac="http://schemas.microsoft.com/office/drawing/2013/main/command">
      <pc:docMk xmlns:pc="http://schemas.microsoft.com/office/powerpoint/2013/main/command"/>
      <pc:sldMk xmlns:pc="http://schemas.microsoft.com/office/powerpoint/2013/main/command" cId="477353414" sldId="2147374157"/>
      <ac:spMk id="3" creationId="{81CBE9DC-C099-80B1-9252-D102EF5160A0}"/>
    </ac:deMkLst>
    <p188:replyLst>
      <p188:reply id="{FD164455-1DAA-4E55-9BDB-3993AFCACBB6}" authorId="{B5BC41F5-903C-18F1-E3D8-FBE6529DCB8A}" created="2024-02-09T21:32:31.867">
        <p188:txBody>
          <a:bodyPr/>
          <a:lstStyle/>
          <a:p>
            <a:r>
              <a:rPr lang="en-US"/>
              <a:t>[@Zhan, Yao] FT Batch 1 need to exclude from this slide. As these was mixed before isolation and mostly NK cells contamination. </a:t>
            </a:r>
          </a:p>
        </p188:txBody>
      </p188:reply>
      <p188:reply id="{1FF1D10D-7633-4521-804E-C078F539B804}" authorId="{1C852130-E830-BD80-7B6D-E40253BACC4F}" created="2024-02-12T17:11:53.028">
        <p188:txBody>
          <a:bodyPr/>
          <a:lstStyle/>
          <a:p>
            <a:r>
              <a:rPr lang="en-US"/>
              <a:t>[@Mondal, Anupom] [@Shi, Xi] Batch1 FT is removed, for the sake of presentation, in slide 45 and hided this slide.</a:t>
            </a:r>
          </a:p>
        </p188:txBody>
      </p188:reply>
    </p188:replyLst>
    <p188:txBody>
      <a:bodyPr/>
      <a:lstStyle/>
      <a:p>
        <a:r>
          <a:rPr lang="en-US"/>
          <a:t>[@Zhan, Yao] [@Adiconis, Xian] Is this a contamination or failed lib prep? FT should be mainly tumor cells not NK. Should we include or remove this data?</a:t>
        </a:r>
      </a:p>
    </p188:txBody>
    <p188:extLst>
      <p:ext xmlns:p="http://schemas.openxmlformats.org/presentationml/2006/main" uri="{5BB2D875-25FF-4072-B9AC-8F64D62656EB}">
        <p228:taskDetails xmlns:p228="http://schemas.microsoft.com/office/powerpoint/2022/08/main">
          <p228:history>
            <p228:event time="2024-02-09T21:32:31.867" id="{C49BECF8-6CD6-421A-B563-E1A068B312D7}">
              <p228:atrbtn authorId="{B5BC41F5-903C-18F1-E3D8-FBE6529DCB8A}"/>
              <p228:anchr>
                <p228:comment id="{FD164455-1DAA-4E55-9BDB-3993AFCACBB6}"/>
              </p228:anchr>
              <p228:add/>
            </p228:event>
            <p228:event time="2024-02-09T21:32:31.867" id="{5D9623C6-A0F6-44C1-97D3-779FE75BAC8D}">
              <p228:atrbtn authorId="{B5BC41F5-903C-18F1-E3D8-FBE6529DCB8A}"/>
              <p228:anchr>
                <p228:comment id="{FD164455-1DAA-4E55-9BDB-3993AFCACBB6}"/>
              </p228:anchr>
              <p228:asgn authorId="{1C852130-E830-BD80-7B6D-E40253BACC4F}"/>
            </p228:event>
            <p228:event time="2024-02-09T21:32:31.867" id="{F1F1178A-0D15-42AE-8B8D-DE8C5C223804}">
              <p228:atrbtn authorId="{B5BC41F5-903C-18F1-E3D8-FBE6529DCB8A}"/>
              <p228:anchr>
                <p228:comment id="{FD164455-1DAA-4E55-9BDB-3993AFCACBB6}"/>
              </p228:anchr>
              <p228:date stDt="2024-02-09T21:32:31.867" endDt="2024-02-09T21:32:31.867"/>
            </p228:event>
            <p228:event time="2024-02-09T21:32:31.867" id="{9396ABAE-B469-47CA-B78F-451741F6C8D8}">
              <p228:atrbtn authorId="{B5BC41F5-903C-18F1-E3D8-FBE6529DCB8A}"/>
              <p228:anchr>
                <p228:comment id="{FD164455-1DAA-4E55-9BDB-3993AFCACBB6}"/>
              </p228:anchr>
              <p228:title val="@Zhan, Yao FT Batch 1 need to exclude from this slide. As these was mixed before isolation and mostly NK cells contamination."/>
            </p228:event>
          </p228:history>
        </p228:taskDetails>
      </p:ext>
    </p188:extLst>
  </p188:cm>
  <p188:cm id="{75095050-8C33-EC4F-A9BB-4579AAFC8117}" authorId="{6EF26633-DDB9-A441-B3A0-9E86DA30F178}" created="2024-02-12T16:56:14.492" startDate="2024-02-12T17:11:04.339" dueDate="2024-02-12T17:11:04.339" assignedTo="{B5BC41F5-903C-18F1-E3D8-FBE6529DCB8A}" title="@Shi, Xi @Mondal, Anupom Batch1 FT is removed, for the sake of presentation, in slide 45.">
    <pc:sldMkLst xmlns:pc="http://schemas.microsoft.com/office/powerpoint/2013/main/command">
      <pc:docMk/>
      <pc:sldMk cId="477353414" sldId="2147374157"/>
    </pc:sldMkLst>
    <p188:replyLst/>
    <p188:txBody>
      <a:bodyPr/>
      <a:lstStyle/>
      <a:p>
        <a:r>
          <a:rPr lang="en-US"/>
          <a:t>[@Zhan, Yao] Since we have some tumor cells in the NK samples collected from blood and bone marrow, can we run a cell-cell communication algorithm or cellchat to see their interaction pathways?</a:t>
        </a:r>
      </a:p>
    </p188:txBody>
    <p188:extLst>
      <p:ext xmlns:p="http://schemas.openxmlformats.org/presentationml/2006/main" uri="{5BB2D875-25FF-4072-B9AC-8F64D62656EB}">
        <p228:taskDetails xmlns:p228="http://schemas.microsoft.com/office/powerpoint/2022/08/main">
          <p228:history>
            <p228:event time="2024-02-12T17:11:04.339" id="{8D9869C5-9CD0-4E7B-A24C-4FB76216E5B8}">
              <p228:atrbtn authorId="{1C852130-E830-BD80-7B6D-E40253BACC4F}"/>
              <p228:anchr>
                <p228:comment id="{B7B904D3-8BF3-4520-A7DE-E6D821D8DD99}"/>
              </p228:anchr>
              <p228:add/>
            </p228:event>
            <p228:event time="2024-02-12T17:11:04.339" id="{C2F9BB8A-1926-41BB-9664-35927D92AF06}">
              <p228:atrbtn authorId="{1C852130-E830-BD80-7B6D-E40253BACC4F}"/>
              <p228:anchr>
                <p228:comment id="{B7B904D3-8BF3-4520-A7DE-E6D821D8DD99}"/>
              </p228:anchr>
              <p228:asgn authorId="{B5BC41F5-903C-18F1-E3D8-FBE6529DCB8A}"/>
            </p228:event>
            <p228:event time="2024-02-12T17:11:04.339" id="{48BCB0C3-7452-4448-AE2B-6236F5D64196}">
              <p228:atrbtn authorId="{1C852130-E830-BD80-7B6D-E40253BACC4F}"/>
              <p228:anchr>
                <p228:comment id="{B7B904D3-8BF3-4520-A7DE-E6D821D8DD99}"/>
              </p228:anchr>
              <p228:date stDt="2024-02-12T17:11:04.339" endDt="2024-02-12T17:11:04.339"/>
            </p228:event>
            <p228:event time="2024-02-12T17:11:04.339" id="{FDF162C6-C01C-4763-B639-7E54EC8E11DC}">
              <p228:atrbtn authorId="{1C852130-E830-BD80-7B6D-E40253BACC4F}"/>
              <p228:anchr>
                <p228:comment id="{B7B904D3-8BF3-4520-A7DE-E6D821D8DD99}"/>
              </p228:anchr>
              <p228:title val="@Shi, Xi @Mondal, Anupom Batch1 FT is removed, for the sake of presentation, in slide 45."/>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2/20/2024</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7</a:t>
            </a:fld>
            <a:endParaRPr lang="en-US"/>
          </a:p>
        </p:txBody>
      </p:sp>
    </p:spTree>
    <p:extLst>
      <p:ext uri="{BB962C8B-B14F-4D97-AF65-F5344CB8AC3E}">
        <p14:creationId xmlns:p14="http://schemas.microsoft.com/office/powerpoint/2010/main" val="3928776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8</a:t>
            </a:fld>
            <a:endParaRPr lang="en-US"/>
          </a:p>
        </p:txBody>
      </p:sp>
    </p:spTree>
    <p:extLst>
      <p:ext uri="{BB962C8B-B14F-4D97-AF65-F5344CB8AC3E}">
        <p14:creationId xmlns:p14="http://schemas.microsoft.com/office/powerpoint/2010/main" val="1086868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22</a:t>
            </a:fld>
            <a:endParaRPr lang="en-US"/>
          </a:p>
        </p:txBody>
      </p:sp>
    </p:spTree>
    <p:extLst>
      <p:ext uri="{BB962C8B-B14F-4D97-AF65-F5344CB8AC3E}">
        <p14:creationId xmlns:p14="http://schemas.microsoft.com/office/powerpoint/2010/main" val="2724988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27</a:t>
            </a:fld>
            <a:endParaRPr lang="en-US"/>
          </a:p>
        </p:txBody>
      </p:sp>
    </p:spTree>
    <p:extLst>
      <p:ext uri="{BB962C8B-B14F-4D97-AF65-F5344CB8AC3E}">
        <p14:creationId xmlns:p14="http://schemas.microsoft.com/office/powerpoint/2010/main" val="39439515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8" r:id="rId7"/>
    <p:sldLayoutId id="2147483920" r:id="rId8"/>
    <p:sldLayoutId id="2147483922" r:id="rId9"/>
    <p:sldLayoutId id="2147483968"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microsoft.com/office/2018/10/relationships/comments" Target="../comments/modernComment_7FFE544D_1C73D5C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tree with pink flowers next to a body of water and a mountain&#10;&#10;Description automatically generated with medium confidence">
            <a:extLst>
              <a:ext uri="{FF2B5EF4-FFF2-40B4-BE49-F238E27FC236}">
                <a16:creationId xmlns:a16="http://schemas.microsoft.com/office/drawing/2014/main" id="{9EA1A039-D49A-66B6-1E20-21DA1B6871B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22739" r="-1" b="24071"/>
          <a:stretch/>
        </p:blipFill>
        <p:spPr>
          <a:xfrm>
            <a:off x="740296" y="9215"/>
            <a:ext cx="11459359" cy="3428494"/>
          </a:xfrm>
          <a:noFill/>
        </p:spPr>
      </p:pic>
      <p:sp>
        <p:nvSpPr>
          <p:cNvPr id="10" name="Title 2">
            <a:extLst>
              <a:ext uri="{FF2B5EF4-FFF2-40B4-BE49-F238E27FC236}">
                <a16:creationId xmlns:a16="http://schemas.microsoft.com/office/drawing/2014/main" id="{2CC635BF-1157-07B8-6E92-D592E0F77229}"/>
              </a:ext>
            </a:extLst>
          </p:cNvPr>
          <p:cNvSpPr>
            <a:spLocks noGrp="1"/>
          </p:cNvSpPr>
          <p:nvPr>
            <p:ph type="ctrTitle"/>
          </p:nvPr>
        </p:nvSpPr>
        <p:spPr>
          <a:xfrm>
            <a:off x="1194730" y="3956816"/>
            <a:ext cx="8528110" cy="606871"/>
          </a:xfrm>
        </p:spPr>
        <p:txBody>
          <a:bodyPr>
            <a:normAutofit/>
          </a:bodyPr>
          <a:lstStyle/>
          <a:p>
            <a:r>
              <a:rPr lang="en-US" sz="3200" dirty="0">
                <a:latin typeface="Calibri"/>
                <a:ea typeface="メイリオ"/>
                <a:cs typeface="Calibri"/>
              </a:rPr>
              <a:t>CTI AML NK </a:t>
            </a:r>
            <a:r>
              <a:rPr lang="en-US" sz="3200" dirty="0" err="1">
                <a:latin typeface="Calibri"/>
                <a:ea typeface="メイリオ"/>
                <a:cs typeface="Calibri"/>
              </a:rPr>
              <a:t>scRNAseq</a:t>
            </a:r>
            <a:r>
              <a:rPr lang="en-US" sz="3200" dirty="0">
                <a:latin typeface="Calibri"/>
                <a:ea typeface="メイリオ"/>
                <a:cs typeface="Calibri"/>
              </a:rPr>
              <a:t> data analysis package</a:t>
            </a:r>
          </a:p>
        </p:txBody>
      </p:sp>
      <p:sp>
        <p:nvSpPr>
          <p:cNvPr id="14" name="Text Placeholder 4">
            <a:extLst>
              <a:ext uri="{FF2B5EF4-FFF2-40B4-BE49-F238E27FC236}">
                <a16:creationId xmlns:a16="http://schemas.microsoft.com/office/drawing/2014/main" id="{9E7624AB-DFD1-EDE3-567E-687EAB7DA72B}"/>
              </a:ext>
            </a:extLst>
          </p:cNvPr>
          <p:cNvSpPr>
            <a:spLocks noGrp="1"/>
          </p:cNvSpPr>
          <p:nvPr>
            <p:ph type="body" sz="quarter" idx="24"/>
          </p:nvPr>
        </p:nvSpPr>
        <p:spPr>
          <a:xfrm>
            <a:off x="1194728" y="5336915"/>
            <a:ext cx="7699670" cy="234001"/>
          </a:xfrm>
        </p:spPr>
        <p:txBody>
          <a:bodyPr vert="horz" lIns="0" tIns="0" rIns="0" bIns="0" rtlCol="0" anchor="t">
            <a:noAutofit/>
          </a:bodyPr>
          <a:lstStyle/>
          <a:p>
            <a:r>
              <a:rPr lang="en-US" dirty="0">
                <a:latin typeface="Calibri"/>
                <a:ea typeface="メイリオ"/>
                <a:cs typeface="Calibri"/>
              </a:rPr>
              <a:t>Computational Oncology_ RDI</a:t>
            </a:r>
            <a:endParaRPr lang="en-US" dirty="0"/>
          </a:p>
        </p:txBody>
      </p:sp>
      <p:sp>
        <p:nvSpPr>
          <p:cNvPr id="16" name="Text Placeholder 5">
            <a:extLst>
              <a:ext uri="{FF2B5EF4-FFF2-40B4-BE49-F238E27FC236}">
                <a16:creationId xmlns:a16="http://schemas.microsoft.com/office/drawing/2014/main" id="{13C8D921-EF35-085D-8E07-8E91676B3472}"/>
              </a:ext>
            </a:extLst>
          </p:cNvPr>
          <p:cNvSpPr>
            <a:spLocks noGrp="1"/>
          </p:cNvSpPr>
          <p:nvPr>
            <p:ph type="body" sz="quarter" idx="25"/>
          </p:nvPr>
        </p:nvSpPr>
        <p:spPr>
          <a:xfrm>
            <a:off x="1194728" y="5670571"/>
            <a:ext cx="7699670" cy="234001"/>
          </a:xfrm>
        </p:spPr>
        <p:txBody>
          <a:bodyPr/>
          <a:lstStyle/>
          <a:p>
            <a:r>
              <a:rPr lang="en-US"/>
              <a:t>Jan-16 -2024</a:t>
            </a:r>
            <a:endParaRPr lang="en-US" dirty="0"/>
          </a:p>
        </p:txBody>
      </p:sp>
      <p:sp>
        <p:nvSpPr>
          <p:cNvPr id="18" name="Text Placeholder 6">
            <a:extLst>
              <a:ext uri="{FF2B5EF4-FFF2-40B4-BE49-F238E27FC236}">
                <a16:creationId xmlns:a16="http://schemas.microsoft.com/office/drawing/2014/main" id="{7FDB0E95-3F03-80CB-71CC-3E62DB392DD0}"/>
              </a:ext>
            </a:extLst>
          </p:cNvPr>
          <p:cNvSpPr>
            <a:spLocks noGrp="1"/>
          </p:cNvSpPr>
          <p:nvPr>
            <p:ph type="body" sz="quarter" idx="26"/>
          </p:nvPr>
        </p:nvSpPr>
        <p:spPr>
          <a:xfrm>
            <a:off x="1194728" y="4997510"/>
            <a:ext cx="7699670" cy="339405"/>
          </a:xfrm>
        </p:spPr>
        <p:txBody>
          <a:bodyPr vert="horz" lIns="0" tIns="0" rIns="0" bIns="0" rtlCol="0" anchor="t">
            <a:noAutofit/>
          </a:bodyPr>
          <a:lstStyle/>
          <a:p>
            <a:r>
              <a:rPr lang="en-US" dirty="0">
                <a:latin typeface="Calibri"/>
                <a:ea typeface="メイリオ"/>
                <a:cs typeface="Calibri"/>
              </a:rPr>
              <a:t>Yao Zhan</a:t>
            </a:r>
            <a:endParaRPr lang="en-US" dirty="0"/>
          </a:p>
        </p:txBody>
      </p:sp>
    </p:spTree>
    <p:extLst>
      <p:ext uri="{BB962C8B-B14F-4D97-AF65-F5344CB8AC3E}">
        <p14:creationId xmlns:p14="http://schemas.microsoft.com/office/powerpoint/2010/main" val="350270287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4FEA12-2AE8-EDFE-6096-124FC1B7EBA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533C20E-55F2-CC3C-19FA-BDDE5BB3C632}"/>
              </a:ext>
            </a:extLst>
          </p:cNvPr>
          <p:cNvSpPr>
            <a:spLocks noGrp="1"/>
          </p:cNvSpPr>
          <p:nvPr>
            <p:ph type="title"/>
          </p:nvPr>
        </p:nvSpPr>
        <p:spPr>
          <a:xfrm>
            <a:off x="606078" y="161605"/>
            <a:ext cx="11491187" cy="685801"/>
          </a:xfrm>
        </p:spPr>
        <p:txBody>
          <a:bodyPr>
            <a:normAutofit fontScale="90000"/>
          </a:bodyPr>
          <a:lstStyle/>
          <a:p>
            <a:r>
              <a:rPr lang="en-US" dirty="0"/>
              <a:t>Exploring the expression NK cell activating and inhibitory receptors in NK samples </a:t>
            </a:r>
          </a:p>
        </p:txBody>
      </p:sp>
      <p:sp>
        <p:nvSpPr>
          <p:cNvPr id="5" name="Slide Number Placeholder 4">
            <a:extLst>
              <a:ext uri="{FF2B5EF4-FFF2-40B4-BE49-F238E27FC236}">
                <a16:creationId xmlns:a16="http://schemas.microsoft.com/office/drawing/2014/main" id="{8AF172B7-0468-14FB-A5CE-27ECAC397247}"/>
              </a:ext>
            </a:extLst>
          </p:cNvPr>
          <p:cNvSpPr>
            <a:spLocks noGrp="1"/>
          </p:cNvSpPr>
          <p:nvPr>
            <p:ph type="sldNum" sz="quarter" idx="4"/>
          </p:nvPr>
        </p:nvSpPr>
        <p:spPr>
          <a:xfrm>
            <a:off x="1184610" y="6523001"/>
            <a:ext cx="294928" cy="196131"/>
          </a:xfrm>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00C7CEFC-DCF7-FB75-6A58-971D47145987}"/>
              </a:ext>
            </a:extLst>
          </p:cNvPr>
          <p:cNvSpPr>
            <a:spLocks noGrp="1"/>
          </p:cNvSpPr>
          <p:nvPr>
            <p:ph type="body" sz="quarter" idx="16"/>
          </p:nvPr>
        </p:nvSpPr>
        <p:spPr>
          <a:xfrm>
            <a:off x="1479538" y="6523001"/>
            <a:ext cx="6968348" cy="205613"/>
          </a:xfrm>
        </p:spPr>
        <p:txBody>
          <a:bodyPr/>
          <a:lstStyle/>
          <a:p>
            <a:endParaRPr lang="en-US"/>
          </a:p>
        </p:txBody>
      </p:sp>
      <p:pic>
        <p:nvPicPr>
          <p:cNvPr id="8" name="Picture 7">
            <a:extLst>
              <a:ext uri="{FF2B5EF4-FFF2-40B4-BE49-F238E27FC236}">
                <a16:creationId xmlns:a16="http://schemas.microsoft.com/office/drawing/2014/main" id="{FF4BA029-1D9E-2627-132E-098C4A68C510}"/>
              </a:ext>
            </a:extLst>
          </p:cNvPr>
          <p:cNvPicPr>
            <a:picLocks noChangeAspect="1"/>
          </p:cNvPicPr>
          <p:nvPr/>
        </p:nvPicPr>
        <p:blipFill>
          <a:blip r:embed="rId2"/>
          <a:stretch>
            <a:fillRect/>
          </a:stretch>
        </p:blipFill>
        <p:spPr>
          <a:xfrm>
            <a:off x="2876670" y="847406"/>
            <a:ext cx="7172325" cy="5553075"/>
          </a:xfrm>
          <a:prstGeom prst="rect">
            <a:avLst/>
          </a:prstGeom>
        </p:spPr>
      </p:pic>
      <p:sp>
        <p:nvSpPr>
          <p:cNvPr id="9" name="Rounded Rectangle 12">
            <a:extLst>
              <a:ext uri="{FF2B5EF4-FFF2-40B4-BE49-F238E27FC236}">
                <a16:creationId xmlns:a16="http://schemas.microsoft.com/office/drawing/2014/main" id="{EC6C8995-9B3D-21F8-90DD-B2EC779EEEF7}"/>
              </a:ext>
            </a:extLst>
          </p:cNvPr>
          <p:cNvSpPr/>
          <p:nvPr/>
        </p:nvSpPr>
        <p:spPr>
          <a:xfrm>
            <a:off x="2610367" y="889528"/>
            <a:ext cx="6208488" cy="2372656"/>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5D377E0B-F58A-2CB3-6E6B-E9F39F21A06A}"/>
              </a:ext>
            </a:extLst>
          </p:cNvPr>
          <p:cNvSpPr txBox="1"/>
          <p:nvPr/>
        </p:nvSpPr>
        <p:spPr>
          <a:xfrm rot="16200000">
            <a:off x="2275932" y="1845427"/>
            <a:ext cx="1627975" cy="369332"/>
          </a:xfrm>
          <a:prstGeom prst="rect">
            <a:avLst/>
          </a:prstGeom>
          <a:noFill/>
        </p:spPr>
        <p:txBody>
          <a:bodyPr wrap="square" rtlCol="0">
            <a:spAutoFit/>
          </a:bodyPr>
          <a:lstStyle/>
          <a:p>
            <a:r>
              <a:rPr lang="en-US" dirty="0"/>
              <a:t>NK activation</a:t>
            </a:r>
          </a:p>
        </p:txBody>
      </p:sp>
      <p:sp>
        <p:nvSpPr>
          <p:cNvPr id="11" name="Rounded Rectangle 14">
            <a:extLst>
              <a:ext uri="{FF2B5EF4-FFF2-40B4-BE49-F238E27FC236}">
                <a16:creationId xmlns:a16="http://schemas.microsoft.com/office/drawing/2014/main" id="{479F5897-384A-A9D0-947B-05B43EEB77E2}"/>
              </a:ext>
            </a:extLst>
          </p:cNvPr>
          <p:cNvSpPr/>
          <p:nvPr/>
        </p:nvSpPr>
        <p:spPr>
          <a:xfrm>
            <a:off x="2610366" y="3304306"/>
            <a:ext cx="6208487" cy="2800592"/>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8A18933B-6B3C-3787-EDA3-13A104796B13}"/>
              </a:ext>
            </a:extLst>
          </p:cNvPr>
          <p:cNvSpPr txBox="1"/>
          <p:nvPr/>
        </p:nvSpPr>
        <p:spPr>
          <a:xfrm rot="16200000">
            <a:off x="2159267" y="4272812"/>
            <a:ext cx="1908139" cy="369332"/>
          </a:xfrm>
          <a:prstGeom prst="rect">
            <a:avLst/>
          </a:prstGeom>
          <a:noFill/>
        </p:spPr>
        <p:txBody>
          <a:bodyPr wrap="square" rtlCol="0">
            <a:spAutoFit/>
          </a:bodyPr>
          <a:lstStyle/>
          <a:p>
            <a:r>
              <a:rPr lang="en-US" dirty="0"/>
              <a:t>NK Inhibitory</a:t>
            </a:r>
          </a:p>
        </p:txBody>
      </p:sp>
      <p:sp>
        <p:nvSpPr>
          <p:cNvPr id="13" name="TextBox 12">
            <a:extLst>
              <a:ext uri="{FF2B5EF4-FFF2-40B4-BE49-F238E27FC236}">
                <a16:creationId xmlns:a16="http://schemas.microsoft.com/office/drawing/2014/main" id="{6BDD1255-8F02-AD47-983D-47121AD30F07}"/>
              </a:ext>
            </a:extLst>
          </p:cNvPr>
          <p:cNvSpPr txBox="1"/>
          <p:nvPr/>
        </p:nvSpPr>
        <p:spPr>
          <a:xfrm>
            <a:off x="1510276" y="6160061"/>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ctivation receptor expression was downregulated in BW NK cells</a:t>
            </a:r>
            <a:endParaRPr lang="en-US" sz="1400" b="1" dirty="0"/>
          </a:p>
        </p:txBody>
      </p:sp>
    </p:spTree>
    <p:extLst>
      <p:ext uri="{BB962C8B-B14F-4D97-AF65-F5344CB8AC3E}">
        <p14:creationId xmlns:p14="http://schemas.microsoft.com/office/powerpoint/2010/main" val="244529686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DD3FFCA-7844-96F8-F147-67DE4900ACCA}"/>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8764E997-9B67-88DD-659C-5B4F07BD4774}"/>
              </a:ext>
            </a:extLst>
          </p:cNvPr>
          <p:cNvSpPr>
            <a:spLocks noGrp="1"/>
          </p:cNvSpPr>
          <p:nvPr>
            <p:ph type="title"/>
          </p:nvPr>
        </p:nvSpPr>
        <p:spPr>
          <a:xfrm>
            <a:off x="401923" y="129666"/>
            <a:ext cx="10981124" cy="685801"/>
          </a:xfrm>
        </p:spPr>
        <p:txBody>
          <a:bodyPr>
            <a:normAutofit fontScale="90000"/>
          </a:bodyPr>
          <a:lstStyle/>
          <a:p>
            <a:r>
              <a:rPr lang="en-US" dirty="0"/>
              <a:t>Exploring the expression NK resistance genes in NK samples (</a:t>
            </a:r>
            <a:r>
              <a:rPr lang="en-US" b="0" i="0" dirty="0">
                <a:solidFill>
                  <a:srgbClr val="212121"/>
                </a:solidFill>
                <a:effectLst/>
                <a:latin typeface="BlinkMacSystemFont"/>
              </a:rPr>
              <a:t>PMID: 38091953</a:t>
            </a:r>
            <a:r>
              <a:rPr lang="en-US" dirty="0"/>
              <a:t>)</a:t>
            </a:r>
          </a:p>
        </p:txBody>
      </p:sp>
      <p:sp>
        <p:nvSpPr>
          <p:cNvPr id="5" name="Slide Number Placeholder 4">
            <a:extLst>
              <a:ext uri="{FF2B5EF4-FFF2-40B4-BE49-F238E27FC236}">
                <a16:creationId xmlns:a16="http://schemas.microsoft.com/office/drawing/2014/main" id="{DD15021C-0CEF-0A36-32CC-C1AF8F51F4B7}"/>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1EA38220-0D48-68F7-8F4F-76A01C9ED9CC}"/>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6CDCF8A6-2A68-3DA2-F162-6F547A706F28}"/>
              </a:ext>
            </a:extLst>
          </p:cNvPr>
          <p:cNvPicPr>
            <a:picLocks noChangeAspect="1"/>
          </p:cNvPicPr>
          <p:nvPr/>
        </p:nvPicPr>
        <p:blipFill>
          <a:blip r:embed="rId2"/>
          <a:stretch>
            <a:fillRect/>
          </a:stretch>
        </p:blipFill>
        <p:spPr>
          <a:xfrm>
            <a:off x="2699654" y="1277145"/>
            <a:ext cx="5753100" cy="3467100"/>
          </a:xfrm>
          <a:prstGeom prst="rect">
            <a:avLst/>
          </a:prstGeom>
        </p:spPr>
      </p:pic>
      <p:sp>
        <p:nvSpPr>
          <p:cNvPr id="10" name="TextBox 9">
            <a:extLst>
              <a:ext uri="{FF2B5EF4-FFF2-40B4-BE49-F238E27FC236}">
                <a16:creationId xmlns:a16="http://schemas.microsoft.com/office/drawing/2014/main" id="{7E0F0F36-4413-B41D-09D0-EC8D03C72CC8}"/>
              </a:ext>
            </a:extLst>
          </p:cNvPr>
          <p:cNvSpPr txBox="1"/>
          <p:nvPr/>
        </p:nvSpPr>
        <p:spPr>
          <a:xfrm>
            <a:off x="1000213" y="5156569"/>
            <a:ext cx="10586989" cy="95410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resistance gene list is from the paper: </a:t>
            </a:r>
          </a:p>
          <a:p>
            <a:r>
              <a:rPr lang="en-US" sz="1400" dirty="0"/>
              <a:t>        Single-cell functional genomics reveals determinants of sensitivity and resistance to natural killer cells in blood cancers (suggested by </a:t>
            </a:r>
            <a:r>
              <a:rPr lang="en-US" sz="1400" dirty="0" err="1"/>
              <a:t>Cici</a:t>
            </a:r>
            <a:r>
              <a:rPr lang="en-US" sz="1400" dirty="0"/>
              <a:t>)</a:t>
            </a:r>
          </a:p>
          <a:p>
            <a:pPr marL="285750" indent="-285750">
              <a:buFont typeface="Wingdings" panose="05000000000000000000" pitchFamily="2" charset="2"/>
              <a:buChar char="§"/>
            </a:pPr>
            <a:r>
              <a:rPr lang="en-US" sz="1400" dirty="0"/>
              <a:t>GMDS is moderately upregulated in BW NK compared with Fresh NK </a:t>
            </a:r>
          </a:p>
          <a:p>
            <a:pPr marL="285750" indent="-285750">
              <a:buFont typeface="Wingdings" panose="05000000000000000000" pitchFamily="2" charset="2"/>
              <a:buChar char="§"/>
            </a:pPr>
            <a:endParaRPr lang="en-US" sz="1400" b="1" dirty="0"/>
          </a:p>
        </p:txBody>
      </p:sp>
    </p:spTree>
    <p:extLst>
      <p:ext uri="{BB962C8B-B14F-4D97-AF65-F5344CB8AC3E}">
        <p14:creationId xmlns:p14="http://schemas.microsoft.com/office/powerpoint/2010/main" val="404827476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tree with pink flowers next to a body of water and a mountain&#10;&#10;Description automatically generated with medium confidence">
            <a:extLst>
              <a:ext uri="{FF2B5EF4-FFF2-40B4-BE49-F238E27FC236}">
                <a16:creationId xmlns:a16="http://schemas.microsoft.com/office/drawing/2014/main" id="{9EA1A039-D49A-66B6-1E20-21DA1B6871B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22739" r="-1" b="24071"/>
          <a:stretch/>
        </p:blipFill>
        <p:spPr>
          <a:xfrm>
            <a:off x="740296" y="9215"/>
            <a:ext cx="11459359" cy="3428494"/>
          </a:xfrm>
          <a:noFill/>
        </p:spPr>
      </p:pic>
      <p:sp>
        <p:nvSpPr>
          <p:cNvPr id="10" name="Title 2">
            <a:extLst>
              <a:ext uri="{FF2B5EF4-FFF2-40B4-BE49-F238E27FC236}">
                <a16:creationId xmlns:a16="http://schemas.microsoft.com/office/drawing/2014/main" id="{2CC635BF-1157-07B8-6E92-D592E0F77229}"/>
              </a:ext>
            </a:extLst>
          </p:cNvPr>
          <p:cNvSpPr>
            <a:spLocks noGrp="1"/>
          </p:cNvSpPr>
          <p:nvPr>
            <p:ph type="ctrTitle"/>
          </p:nvPr>
        </p:nvSpPr>
        <p:spPr>
          <a:xfrm>
            <a:off x="1194730" y="3956816"/>
            <a:ext cx="8528110" cy="606871"/>
          </a:xfrm>
        </p:spPr>
        <p:txBody>
          <a:bodyPr>
            <a:normAutofit fontScale="90000"/>
          </a:bodyPr>
          <a:lstStyle/>
          <a:p>
            <a:r>
              <a:rPr lang="en-US" sz="3200" dirty="0">
                <a:latin typeface="Calibri"/>
                <a:ea typeface="メイリオ"/>
                <a:cs typeface="Calibri"/>
              </a:rPr>
              <a:t>CTI AML NK </a:t>
            </a:r>
            <a:r>
              <a:rPr lang="en-US" sz="3200" dirty="0" err="1">
                <a:latin typeface="Calibri"/>
                <a:ea typeface="メイリオ"/>
                <a:cs typeface="Calibri"/>
              </a:rPr>
              <a:t>scRNAseq</a:t>
            </a:r>
            <a:r>
              <a:rPr lang="en-US" sz="3200" dirty="0">
                <a:latin typeface="Calibri"/>
                <a:ea typeface="メイリオ"/>
                <a:cs typeface="Calibri"/>
              </a:rPr>
              <a:t> data analysis package:</a:t>
            </a:r>
            <a:br>
              <a:rPr lang="en-US" sz="3200" dirty="0">
                <a:latin typeface="Calibri"/>
                <a:ea typeface="メイリオ"/>
                <a:cs typeface="Calibri"/>
              </a:rPr>
            </a:br>
            <a:r>
              <a:rPr lang="en-US" sz="3200" dirty="0">
                <a:latin typeface="Calibri"/>
                <a:ea typeface="メイリオ"/>
                <a:cs typeface="Calibri"/>
              </a:rPr>
              <a:t>Batch1 + Batch2</a:t>
            </a:r>
          </a:p>
        </p:txBody>
      </p:sp>
      <p:sp>
        <p:nvSpPr>
          <p:cNvPr id="14" name="Text Placeholder 4">
            <a:extLst>
              <a:ext uri="{FF2B5EF4-FFF2-40B4-BE49-F238E27FC236}">
                <a16:creationId xmlns:a16="http://schemas.microsoft.com/office/drawing/2014/main" id="{9E7624AB-DFD1-EDE3-567E-687EAB7DA72B}"/>
              </a:ext>
            </a:extLst>
          </p:cNvPr>
          <p:cNvSpPr>
            <a:spLocks noGrp="1"/>
          </p:cNvSpPr>
          <p:nvPr>
            <p:ph type="body" sz="quarter" idx="24"/>
          </p:nvPr>
        </p:nvSpPr>
        <p:spPr>
          <a:xfrm>
            <a:off x="1194728" y="5336915"/>
            <a:ext cx="7699670" cy="234001"/>
          </a:xfrm>
        </p:spPr>
        <p:txBody>
          <a:bodyPr vert="horz" lIns="0" tIns="0" rIns="0" bIns="0" rtlCol="0" anchor="t">
            <a:noAutofit/>
          </a:bodyPr>
          <a:lstStyle/>
          <a:p>
            <a:r>
              <a:rPr lang="en-US" dirty="0">
                <a:latin typeface="Calibri"/>
                <a:ea typeface="メイリオ"/>
                <a:cs typeface="Calibri"/>
              </a:rPr>
              <a:t>Computational Oncology_ RDI</a:t>
            </a:r>
            <a:endParaRPr lang="en-US" dirty="0"/>
          </a:p>
        </p:txBody>
      </p:sp>
      <p:sp>
        <p:nvSpPr>
          <p:cNvPr id="16" name="Text Placeholder 5">
            <a:extLst>
              <a:ext uri="{FF2B5EF4-FFF2-40B4-BE49-F238E27FC236}">
                <a16:creationId xmlns:a16="http://schemas.microsoft.com/office/drawing/2014/main" id="{13C8D921-EF35-085D-8E07-8E91676B3472}"/>
              </a:ext>
            </a:extLst>
          </p:cNvPr>
          <p:cNvSpPr>
            <a:spLocks noGrp="1"/>
          </p:cNvSpPr>
          <p:nvPr>
            <p:ph type="body" sz="quarter" idx="25"/>
          </p:nvPr>
        </p:nvSpPr>
        <p:spPr>
          <a:xfrm>
            <a:off x="1194728" y="5670571"/>
            <a:ext cx="7699670" cy="234001"/>
          </a:xfrm>
        </p:spPr>
        <p:txBody>
          <a:bodyPr/>
          <a:lstStyle/>
          <a:p>
            <a:r>
              <a:rPr lang="en-US" dirty="0"/>
              <a:t>Feb-2 -2024</a:t>
            </a:r>
          </a:p>
        </p:txBody>
      </p:sp>
      <p:sp>
        <p:nvSpPr>
          <p:cNvPr id="18" name="Text Placeholder 6">
            <a:extLst>
              <a:ext uri="{FF2B5EF4-FFF2-40B4-BE49-F238E27FC236}">
                <a16:creationId xmlns:a16="http://schemas.microsoft.com/office/drawing/2014/main" id="{7FDB0E95-3F03-80CB-71CC-3E62DB392DD0}"/>
              </a:ext>
            </a:extLst>
          </p:cNvPr>
          <p:cNvSpPr>
            <a:spLocks noGrp="1"/>
          </p:cNvSpPr>
          <p:nvPr>
            <p:ph type="body" sz="quarter" idx="26"/>
          </p:nvPr>
        </p:nvSpPr>
        <p:spPr>
          <a:xfrm>
            <a:off x="1194728" y="4997510"/>
            <a:ext cx="7699670" cy="339405"/>
          </a:xfrm>
        </p:spPr>
        <p:txBody>
          <a:bodyPr vert="horz" lIns="0" tIns="0" rIns="0" bIns="0" rtlCol="0" anchor="t">
            <a:noAutofit/>
          </a:bodyPr>
          <a:lstStyle/>
          <a:p>
            <a:r>
              <a:rPr lang="en-US" dirty="0">
                <a:latin typeface="Calibri"/>
                <a:ea typeface="メイリオ"/>
                <a:cs typeface="Calibri"/>
              </a:rPr>
              <a:t>Yao Zhan</a:t>
            </a:r>
            <a:endParaRPr lang="en-US" dirty="0"/>
          </a:p>
        </p:txBody>
      </p:sp>
    </p:spTree>
    <p:extLst>
      <p:ext uri="{BB962C8B-B14F-4D97-AF65-F5344CB8AC3E}">
        <p14:creationId xmlns:p14="http://schemas.microsoft.com/office/powerpoint/2010/main" val="293915172"/>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4FBF32-7433-D1DF-4C7E-33F4396A89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E6C8B72-1A55-DE3C-A22A-DAC91E937A96}"/>
              </a:ext>
            </a:extLst>
          </p:cNvPr>
          <p:cNvSpPr>
            <a:spLocks noGrp="1"/>
          </p:cNvSpPr>
          <p:nvPr>
            <p:ph type="title"/>
          </p:nvPr>
        </p:nvSpPr>
        <p:spPr/>
        <p:txBody>
          <a:bodyPr/>
          <a:lstStyle/>
          <a:p>
            <a:r>
              <a:rPr lang="en-US" dirty="0"/>
              <a:t>Batch1 sequencing samples and associated metadata information</a:t>
            </a:r>
          </a:p>
        </p:txBody>
      </p:sp>
      <p:sp>
        <p:nvSpPr>
          <p:cNvPr id="5" name="Slide Number Placeholder 4">
            <a:extLst>
              <a:ext uri="{FF2B5EF4-FFF2-40B4-BE49-F238E27FC236}">
                <a16:creationId xmlns:a16="http://schemas.microsoft.com/office/drawing/2014/main" id="{323E64CA-98ED-4EAF-3118-57DB6F458F8C}"/>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82F471D6-43C6-50EB-C380-195EBD9069D3}"/>
              </a:ext>
            </a:extLst>
          </p:cNvPr>
          <p:cNvSpPr>
            <a:spLocks noGrp="1"/>
          </p:cNvSpPr>
          <p:nvPr>
            <p:ph type="body" sz="quarter" idx="16"/>
          </p:nvPr>
        </p:nvSpPr>
        <p:spPr/>
        <p:txBody>
          <a:bodyPr/>
          <a:lstStyle/>
          <a:p>
            <a:endParaRPr lang="en-US"/>
          </a:p>
        </p:txBody>
      </p:sp>
      <p:graphicFrame>
        <p:nvGraphicFramePr>
          <p:cNvPr id="10" name="Table 9">
            <a:extLst>
              <a:ext uri="{FF2B5EF4-FFF2-40B4-BE49-F238E27FC236}">
                <a16:creationId xmlns:a16="http://schemas.microsoft.com/office/drawing/2014/main" id="{3F5E5AE5-52F7-9875-0BD8-23695CEDAAFE}"/>
              </a:ext>
            </a:extLst>
          </p:cNvPr>
          <p:cNvGraphicFramePr>
            <a:graphicFrameLocks noGrp="1"/>
          </p:cNvGraphicFramePr>
          <p:nvPr/>
        </p:nvGraphicFramePr>
        <p:xfrm>
          <a:off x="1366236" y="1694832"/>
          <a:ext cx="8925797" cy="3468335"/>
        </p:xfrm>
        <a:graphic>
          <a:graphicData uri="http://schemas.openxmlformats.org/drawingml/2006/table">
            <a:tbl>
              <a:tblPr firstRow="1" bandRow="1">
                <a:tableStyleId>{5C22544A-7EE6-4342-B048-85BDC9FD1C3A}</a:tableStyleId>
              </a:tblPr>
              <a:tblGrid>
                <a:gridCol w="1306766">
                  <a:extLst>
                    <a:ext uri="{9D8B030D-6E8A-4147-A177-3AD203B41FA5}">
                      <a16:colId xmlns:a16="http://schemas.microsoft.com/office/drawing/2014/main" val="3790985527"/>
                    </a:ext>
                  </a:extLst>
                </a:gridCol>
                <a:gridCol w="877888">
                  <a:extLst>
                    <a:ext uri="{9D8B030D-6E8A-4147-A177-3AD203B41FA5}">
                      <a16:colId xmlns:a16="http://schemas.microsoft.com/office/drawing/2014/main" val="1842421054"/>
                    </a:ext>
                  </a:extLst>
                </a:gridCol>
                <a:gridCol w="1070483">
                  <a:extLst>
                    <a:ext uri="{9D8B030D-6E8A-4147-A177-3AD203B41FA5}">
                      <a16:colId xmlns:a16="http://schemas.microsoft.com/office/drawing/2014/main" val="3422614120"/>
                    </a:ext>
                  </a:extLst>
                </a:gridCol>
                <a:gridCol w="2312226">
                  <a:extLst>
                    <a:ext uri="{9D8B030D-6E8A-4147-A177-3AD203B41FA5}">
                      <a16:colId xmlns:a16="http://schemas.microsoft.com/office/drawing/2014/main" val="411539239"/>
                    </a:ext>
                  </a:extLst>
                </a:gridCol>
                <a:gridCol w="1767332">
                  <a:extLst>
                    <a:ext uri="{9D8B030D-6E8A-4147-A177-3AD203B41FA5}">
                      <a16:colId xmlns:a16="http://schemas.microsoft.com/office/drawing/2014/main" val="4006310516"/>
                    </a:ext>
                  </a:extLst>
                </a:gridCol>
                <a:gridCol w="1591102">
                  <a:extLst>
                    <a:ext uri="{9D8B030D-6E8A-4147-A177-3AD203B41FA5}">
                      <a16:colId xmlns:a16="http://schemas.microsoft.com/office/drawing/2014/main" val="826628765"/>
                    </a:ext>
                  </a:extLst>
                </a:gridCol>
              </a:tblGrid>
              <a:tr h="557888">
                <a:tc>
                  <a:txBody>
                    <a:bodyPr/>
                    <a:lstStyle/>
                    <a:p>
                      <a:pPr algn="ctr"/>
                      <a:r>
                        <a:rPr lang="en-US" sz="1600" b="1" dirty="0">
                          <a:solidFill>
                            <a:srgbClr val="FFFFFF"/>
                          </a:solidFill>
                          <a:effectLst/>
                        </a:rPr>
                        <a:t>Date Received</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sampl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group</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Viability_NC200 (%)</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Estimated Recovery</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solidFill>
                            <a:srgbClr val="FFFFFF"/>
                          </a:solidFill>
                          <a:effectLst/>
                        </a:rPr>
                        <a:t>Potential issu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2198"/>
                  </a:ext>
                </a:extLst>
              </a:tr>
              <a:tr h="440297">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N_lib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4.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9232856"/>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FT_lib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compromised due to poor cell heal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567063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N_lib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too low to count accuratel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35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59971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N_lib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1.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4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422402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T_lib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6.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001468"/>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T_lib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87.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852534"/>
                  </a:ext>
                </a:extLst>
              </a:tr>
            </a:tbl>
          </a:graphicData>
        </a:graphic>
      </p:graphicFrame>
    </p:spTree>
    <p:extLst>
      <p:ext uri="{BB962C8B-B14F-4D97-AF65-F5344CB8AC3E}">
        <p14:creationId xmlns:p14="http://schemas.microsoft.com/office/powerpoint/2010/main" val="298697028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40B1AAB-369A-7C80-12C5-02AAF1A11682}"/>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EA7FC13-6592-D8E5-4840-8B200453F969}"/>
              </a:ext>
            </a:extLst>
          </p:cNvPr>
          <p:cNvSpPr>
            <a:spLocks noGrp="1"/>
          </p:cNvSpPr>
          <p:nvPr>
            <p:ph type="title"/>
          </p:nvPr>
        </p:nvSpPr>
        <p:spPr/>
        <p:txBody>
          <a:bodyPr/>
          <a:lstStyle/>
          <a:p>
            <a:r>
              <a:rPr lang="en-US" dirty="0"/>
              <a:t>Batch2 sample metadata</a:t>
            </a:r>
          </a:p>
        </p:txBody>
      </p:sp>
      <p:sp>
        <p:nvSpPr>
          <p:cNvPr id="5" name="Slide Number Placeholder 4">
            <a:extLst>
              <a:ext uri="{FF2B5EF4-FFF2-40B4-BE49-F238E27FC236}">
                <a16:creationId xmlns:a16="http://schemas.microsoft.com/office/drawing/2014/main" id="{E08D4554-5BDE-C409-08A3-AAA7F9346172}"/>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3E0ACE93-6636-C1CF-8C55-FEB90BEC4D38}"/>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EA09EE8A-4D47-3E61-878F-2C3314FFEC23}"/>
              </a:ext>
            </a:extLst>
          </p:cNvPr>
          <p:cNvGraphicFramePr>
            <a:graphicFrameLocks noGrp="1"/>
          </p:cNvGraphicFramePr>
          <p:nvPr>
            <p:extLst>
              <p:ext uri="{D42A27DB-BD31-4B8C-83A1-F6EECF244321}">
                <p14:modId xmlns:p14="http://schemas.microsoft.com/office/powerpoint/2010/main" val="3317040890"/>
              </p:ext>
            </p:extLst>
          </p:nvPr>
        </p:nvGraphicFramePr>
        <p:xfrm>
          <a:off x="1650198" y="1395542"/>
          <a:ext cx="8312667" cy="3855050"/>
        </p:xfrm>
        <a:graphic>
          <a:graphicData uri="http://schemas.openxmlformats.org/drawingml/2006/table">
            <a:tbl>
              <a:tblPr firstRow="1" bandRow="1">
                <a:tableStyleId>{5C22544A-7EE6-4342-B048-85BDC9FD1C3A}</a:tableStyleId>
              </a:tblPr>
              <a:tblGrid>
                <a:gridCol w="1079354">
                  <a:extLst>
                    <a:ext uri="{9D8B030D-6E8A-4147-A177-3AD203B41FA5}">
                      <a16:colId xmlns:a16="http://schemas.microsoft.com/office/drawing/2014/main" val="417903549"/>
                    </a:ext>
                  </a:extLst>
                </a:gridCol>
                <a:gridCol w="968991">
                  <a:extLst>
                    <a:ext uri="{9D8B030D-6E8A-4147-A177-3AD203B41FA5}">
                      <a16:colId xmlns:a16="http://schemas.microsoft.com/office/drawing/2014/main" val="687832696"/>
                    </a:ext>
                  </a:extLst>
                </a:gridCol>
                <a:gridCol w="1269242">
                  <a:extLst>
                    <a:ext uri="{9D8B030D-6E8A-4147-A177-3AD203B41FA5}">
                      <a16:colId xmlns:a16="http://schemas.microsoft.com/office/drawing/2014/main" val="1079832537"/>
                    </a:ext>
                  </a:extLst>
                </a:gridCol>
                <a:gridCol w="1160059">
                  <a:extLst>
                    <a:ext uri="{9D8B030D-6E8A-4147-A177-3AD203B41FA5}">
                      <a16:colId xmlns:a16="http://schemas.microsoft.com/office/drawing/2014/main" val="1994993811"/>
                    </a:ext>
                  </a:extLst>
                </a:gridCol>
                <a:gridCol w="1037230">
                  <a:extLst>
                    <a:ext uri="{9D8B030D-6E8A-4147-A177-3AD203B41FA5}">
                      <a16:colId xmlns:a16="http://schemas.microsoft.com/office/drawing/2014/main" val="2902315398"/>
                    </a:ext>
                  </a:extLst>
                </a:gridCol>
                <a:gridCol w="1023582">
                  <a:extLst>
                    <a:ext uri="{9D8B030D-6E8A-4147-A177-3AD203B41FA5}">
                      <a16:colId xmlns:a16="http://schemas.microsoft.com/office/drawing/2014/main" val="3247934858"/>
                    </a:ext>
                  </a:extLst>
                </a:gridCol>
                <a:gridCol w="1774209">
                  <a:extLst>
                    <a:ext uri="{9D8B030D-6E8A-4147-A177-3AD203B41FA5}">
                      <a16:colId xmlns:a16="http://schemas.microsoft.com/office/drawing/2014/main" val="33420562"/>
                    </a:ext>
                  </a:extLst>
                </a:gridCol>
              </a:tblGrid>
              <a:tr h="973345">
                <a:tc>
                  <a:txBody>
                    <a:bodyPr/>
                    <a:lstStyle/>
                    <a:p>
                      <a:pPr algn="ctr"/>
                      <a:r>
                        <a:rPr lang="en-US" sz="1600" b="1" dirty="0"/>
                        <a:t>Date Received</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Sample ID</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Sample Description</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Viability_NC200 (%)</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Estimated Recovery</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Potential issue</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Sequencing and </a:t>
                      </a:r>
                    </a:p>
                    <a:p>
                      <a:pPr algn="ctr"/>
                      <a:r>
                        <a:rPr lang="en-US" sz="1600" b="1" dirty="0"/>
                        <a:t>data analysis status</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3941035"/>
                  </a:ext>
                </a:extLst>
              </a:tr>
              <a:tr h="297624">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FT_lib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Fresh tum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1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5050069"/>
                  </a:ext>
                </a:extLst>
              </a:tr>
              <a:tr h="748105">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BLT_lib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L tumor_</a:t>
                      </a:r>
                    </a:p>
                    <a:p>
                      <a:pPr algn="ctr"/>
                      <a:r>
                        <a:rPr lang="en-US" sz="1600" dirty="0"/>
                        <a:t>tumor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1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057887"/>
                  </a:ext>
                </a:extLst>
              </a:tr>
              <a:tr h="1423827">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MT_lib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W tumor_</a:t>
                      </a:r>
                    </a:p>
                    <a:p>
                      <a:pPr algn="ctr"/>
                      <a:r>
                        <a:rPr lang="en-US" sz="1600" dirty="0"/>
                        <a:t>tumor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48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may not  accurate loading # due to low cell #  coun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883979"/>
                  </a:ext>
                </a:extLst>
              </a:tr>
            </a:tbl>
          </a:graphicData>
        </a:graphic>
      </p:graphicFrame>
    </p:spTree>
    <p:extLst>
      <p:ext uri="{BB962C8B-B14F-4D97-AF65-F5344CB8AC3E}">
        <p14:creationId xmlns:p14="http://schemas.microsoft.com/office/powerpoint/2010/main" val="296923975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F2C3BB-3A67-9904-805D-9F5C26840D25}"/>
              </a:ext>
            </a:extLst>
          </p:cNvPr>
          <p:cNvSpPr>
            <a:spLocks noGrp="1"/>
          </p:cNvSpPr>
          <p:nvPr>
            <p:ph type="ftr" sz="quarter" idx="3"/>
          </p:nvPr>
        </p:nvSpPr>
        <p:spPr/>
        <p:txBody>
          <a:bodyPr/>
          <a:lstStyle/>
          <a:p>
            <a:r>
              <a:rPr lang="en-JP"/>
              <a:t> </a:t>
            </a:r>
            <a:endParaRPr lang="en-JP" dirty="0"/>
          </a:p>
        </p:txBody>
      </p:sp>
      <p:sp>
        <p:nvSpPr>
          <p:cNvPr id="5" name="Slide Number Placeholder 4">
            <a:extLst>
              <a:ext uri="{FF2B5EF4-FFF2-40B4-BE49-F238E27FC236}">
                <a16:creationId xmlns:a16="http://schemas.microsoft.com/office/drawing/2014/main" id="{0A2B5A54-AEC8-4000-510C-0C2B7DB83A44}"/>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E1A3FC03-80DB-D1FC-8DA2-452F9F604B63}"/>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C9AAC5E2-09D9-D15C-B4D1-39D3C5F1098B}"/>
              </a:ext>
            </a:extLst>
          </p:cNvPr>
          <p:cNvPicPr>
            <a:picLocks noChangeAspect="1"/>
          </p:cNvPicPr>
          <p:nvPr/>
        </p:nvPicPr>
        <p:blipFill>
          <a:blip r:embed="rId2"/>
          <a:stretch>
            <a:fillRect/>
          </a:stretch>
        </p:blipFill>
        <p:spPr>
          <a:xfrm>
            <a:off x="1466373" y="918431"/>
            <a:ext cx="8219661" cy="5702635"/>
          </a:xfrm>
          <a:prstGeom prst="rect">
            <a:avLst/>
          </a:prstGeom>
        </p:spPr>
      </p:pic>
      <p:sp>
        <p:nvSpPr>
          <p:cNvPr id="8" name="Title 3">
            <a:extLst>
              <a:ext uri="{FF2B5EF4-FFF2-40B4-BE49-F238E27FC236}">
                <a16:creationId xmlns:a16="http://schemas.microsoft.com/office/drawing/2014/main" id="{510A8F21-CC10-1263-D450-6A7F75E938CD}"/>
              </a:ext>
            </a:extLst>
          </p:cNvPr>
          <p:cNvSpPr>
            <a:spLocks noGrp="1"/>
          </p:cNvSpPr>
          <p:nvPr>
            <p:ph type="title"/>
          </p:nvPr>
        </p:nvSpPr>
        <p:spPr>
          <a:xfrm>
            <a:off x="458614" y="222868"/>
            <a:ext cx="10694713" cy="685801"/>
          </a:xfrm>
        </p:spPr>
        <p:txBody>
          <a:bodyPr>
            <a:normAutofit fontScale="90000"/>
          </a:bodyPr>
          <a:lstStyle/>
          <a:p>
            <a:r>
              <a:rPr lang="en-US" dirty="0"/>
              <a:t>3 libraries from batch2 showed purity of human cells indicating no mouse cell contamination</a:t>
            </a:r>
          </a:p>
        </p:txBody>
      </p:sp>
    </p:spTree>
    <p:extLst>
      <p:ext uri="{BB962C8B-B14F-4D97-AF65-F5344CB8AC3E}">
        <p14:creationId xmlns:p14="http://schemas.microsoft.com/office/powerpoint/2010/main" val="44237022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D7AF7DF-071F-1DDC-7D67-AF6AE4CDA200}"/>
              </a:ext>
            </a:extLst>
          </p:cNvPr>
          <p:cNvSpPr>
            <a:spLocks noGrp="1"/>
          </p:cNvSpPr>
          <p:nvPr>
            <p:ph type="ftr" sz="quarter" idx="3"/>
          </p:nvPr>
        </p:nvSpPr>
        <p:spPr/>
        <p:txBody>
          <a:bodyPr/>
          <a:lstStyle/>
          <a:p>
            <a:r>
              <a:rPr lang="en-JP"/>
              <a:t> </a:t>
            </a:r>
            <a:endParaRPr lang="en-JP" dirty="0"/>
          </a:p>
        </p:txBody>
      </p:sp>
      <p:sp>
        <p:nvSpPr>
          <p:cNvPr id="5" name="Slide Number Placeholder 4">
            <a:extLst>
              <a:ext uri="{FF2B5EF4-FFF2-40B4-BE49-F238E27FC236}">
                <a16:creationId xmlns:a16="http://schemas.microsoft.com/office/drawing/2014/main" id="{24EAE112-4956-AF63-C6A2-C735C67F82FF}"/>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B2FF0B37-101D-1C3F-889C-42778CD305B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AD033166-B438-74B8-9C7E-629CE702C954}"/>
              </a:ext>
            </a:extLst>
          </p:cNvPr>
          <p:cNvPicPr>
            <a:picLocks noChangeAspect="1"/>
          </p:cNvPicPr>
          <p:nvPr/>
        </p:nvPicPr>
        <p:blipFill>
          <a:blip r:embed="rId2"/>
          <a:stretch>
            <a:fillRect/>
          </a:stretch>
        </p:blipFill>
        <p:spPr>
          <a:xfrm>
            <a:off x="2156792" y="1098024"/>
            <a:ext cx="7458213" cy="5174358"/>
          </a:xfrm>
          <a:prstGeom prst="rect">
            <a:avLst/>
          </a:prstGeom>
        </p:spPr>
      </p:pic>
      <p:sp>
        <p:nvSpPr>
          <p:cNvPr id="2" name="Title 3">
            <a:extLst>
              <a:ext uri="{FF2B5EF4-FFF2-40B4-BE49-F238E27FC236}">
                <a16:creationId xmlns:a16="http://schemas.microsoft.com/office/drawing/2014/main" id="{9665DB11-30C3-08BA-1135-1C4D64ACE076}"/>
              </a:ext>
            </a:extLst>
          </p:cNvPr>
          <p:cNvSpPr>
            <a:spLocks noGrp="1"/>
          </p:cNvSpPr>
          <p:nvPr>
            <p:ph type="title"/>
          </p:nvPr>
        </p:nvSpPr>
        <p:spPr>
          <a:xfrm>
            <a:off x="606425" y="161925"/>
            <a:ext cx="9939338" cy="685800"/>
          </a:xfrm>
        </p:spPr>
        <p:txBody>
          <a:bodyPr>
            <a:normAutofit fontScale="90000"/>
          </a:bodyPr>
          <a:lstStyle/>
          <a:p>
            <a:r>
              <a:rPr lang="en-US" dirty="0"/>
              <a:t>Most single cells showed low mitochondrial content in the libraries after filtering mouse cells</a:t>
            </a:r>
          </a:p>
        </p:txBody>
      </p:sp>
    </p:spTree>
    <p:extLst>
      <p:ext uri="{BB962C8B-B14F-4D97-AF65-F5344CB8AC3E}">
        <p14:creationId xmlns:p14="http://schemas.microsoft.com/office/powerpoint/2010/main" val="3310900309"/>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6E37C2-F9A6-A860-8DEA-E1E0CAAF11D1}"/>
              </a:ext>
            </a:extLst>
          </p:cNvPr>
          <p:cNvSpPr>
            <a:spLocks noGrp="1"/>
          </p:cNvSpPr>
          <p:nvPr>
            <p:ph type="ftr" sz="quarter" idx="3"/>
          </p:nvPr>
        </p:nvSpPr>
        <p:spPr/>
        <p:txBody>
          <a:bodyPr/>
          <a:lstStyle/>
          <a:p>
            <a:r>
              <a:rPr lang="en-JP" dirty="0"/>
              <a:t> </a:t>
            </a:r>
          </a:p>
        </p:txBody>
      </p:sp>
      <p:sp>
        <p:nvSpPr>
          <p:cNvPr id="5" name="Slide Number Placeholder 4">
            <a:extLst>
              <a:ext uri="{FF2B5EF4-FFF2-40B4-BE49-F238E27FC236}">
                <a16:creationId xmlns:a16="http://schemas.microsoft.com/office/drawing/2014/main" id="{B08EC6B3-797B-90BC-C57E-7519FC6E9312}"/>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83283DFC-B485-65BD-D21A-1F9C55091D61}"/>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E12E0537-1D1B-4FCF-A4AA-CBD9D1D8BDDC}"/>
              </a:ext>
            </a:extLst>
          </p:cNvPr>
          <p:cNvPicPr>
            <a:picLocks noChangeAspect="1"/>
          </p:cNvPicPr>
          <p:nvPr/>
        </p:nvPicPr>
        <p:blipFill rotWithShape="1">
          <a:blip r:embed="rId2"/>
          <a:srcRect l="73657"/>
          <a:stretch/>
        </p:blipFill>
        <p:spPr>
          <a:xfrm>
            <a:off x="2157789" y="1002947"/>
            <a:ext cx="4208298" cy="2809434"/>
          </a:xfrm>
          <a:prstGeom prst="rect">
            <a:avLst/>
          </a:prstGeom>
        </p:spPr>
      </p:pic>
      <p:pic>
        <p:nvPicPr>
          <p:cNvPr id="10" name="Picture 9">
            <a:extLst>
              <a:ext uri="{FF2B5EF4-FFF2-40B4-BE49-F238E27FC236}">
                <a16:creationId xmlns:a16="http://schemas.microsoft.com/office/drawing/2014/main" id="{BA7D732B-3CFF-5E3A-4276-E2F366508DCC}"/>
              </a:ext>
            </a:extLst>
          </p:cNvPr>
          <p:cNvPicPr>
            <a:picLocks noChangeAspect="1"/>
          </p:cNvPicPr>
          <p:nvPr/>
        </p:nvPicPr>
        <p:blipFill rotWithShape="1">
          <a:blip r:embed="rId2"/>
          <a:srcRect l="24665" t="6640" r="51194"/>
          <a:stretch/>
        </p:blipFill>
        <p:spPr>
          <a:xfrm>
            <a:off x="6366087" y="1200150"/>
            <a:ext cx="3840813" cy="2612231"/>
          </a:xfrm>
          <a:prstGeom prst="rect">
            <a:avLst/>
          </a:prstGeom>
        </p:spPr>
      </p:pic>
      <p:pic>
        <p:nvPicPr>
          <p:cNvPr id="11" name="Picture 10">
            <a:extLst>
              <a:ext uri="{FF2B5EF4-FFF2-40B4-BE49-F238E27FC236}">
                <a16:creationId xmlns:a16="http://schemas.microsoft.com/office/drawing/2014/main" id="{FD86CE91-9F0A-EBCC-2B92-64E3F21AB910}"/>
              </a:ext>
            </a:extLst>
          </p:cNvPr>
          <p:cNvPicPr>
            <a:picLocks noChangeAspect="1"/>
          </p:cNvPicPr>
          <p:nvPr/>
        </p:nvPicPr>
        <p:blipFill>
          <a:blip r:embed="rId3"/>
          <a:stretch>
            <a:fillRect/>
          </a:stretch>
        </p:blipFill>
        <p:spPr>
          <a:xfrm>
            <a:off x="2157789" y="3812381"/>
            <a:ext cx="6968349" cy="2610408"/>
          </a:xfrm>
          <a:prstGeom prst="rect">
            <a:avLst/>
          </a:prstGeom>
        </p:spPr>
      </p:pic>
      <p:sp>
        <p:nvSpPr>
          <p:cNvPr id="2" name="Title 5">
            <a:extLst>
              <a:ext uri="{FF2B5EF4-FFF2-40B4-BE49-F238E27FC236}">
                <a16:creationId xmlns:a16="http://schemas.microsoft.com/office/drawing/2014/main" id="{3C1C4BC7-D26B-3223-53C8-91E5BFECA7B0}"/>
              </a:ext>
            </a:extLst>
          </p:cNvPr>
          <p:cNvSpPr>
            <a:spLocks noGrp="1"/>
          </p:cNvSpPr>
          <p:nvPr>
            <p:ph type="title"/>
          </p:nvPr>
        </p:nvSpPr>
        <p:spPr>
          <a:xfrm>
            <a:off x="606424" y="161925"/>
            <a:ext cx="11389957" cy="685800"/>
          </a:xfrm>
        </p:spPr>
        <p:txBody>
          <a:bodyPr>
            <a:noAutofit/>
          </a:bodyPr>
          <a:lstStyle/>
          <a:p>
            <a:r>
              <a:rPr lang="en-US" sz="2400" dirty="0">
                <a:latin typeface="Calibri"/>
                <a:ea typeface="メイリオ"/>
                <a:cs typeface="Calibri"/>
              </a:rPr>
              <a:t>Unsupervised clustering in AML and NK cells from D0-D14 showed clear separation based on cell identity</a:t>
            </a:r>
          </a:p>
        </p:txBody>
      </p:sp>
    </p:spTree>
    <p:extLst>
      <p:ext uri="{BB962C8B-B14F-4D97-AF65-F5344CB8AC3E}">
        <p14:creationId xmlns:p14="http://schemas.microsoft.com/office/powerpoint/2010/main" val="9780046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939C2E-2A2E-0E02-6DEB-B949A8B54E73}"/>
              </a:ext>
            </a:extLst>
          </p:cNvPr>
          <p:cNvPicPr>
            <a:picLocks noChangeAspect="1"/>
          </p:cNvPicPr>
          <p:nvPr/>
        </p:nvPicPr>
        <p:blipFill>
          <a:blip r:embed="rId2"/>
          <a:stretch>
            <a:fillRect/>
          </a:stretch>
        </p:blipFill>
        <p:spPr>
          <a:xfrm>
            <a:off x="2339433" y="987790"/>
            <a:ext cx="7269478" cy="5787292"/>
          </a:xfrm>
          <a:prstGeom prst="rect">
            <a:avLst/>
          </a:prstGeom>
        </p:spPr>
      </p:pic>
      <p:sp>
        <p:nvSpPr>
          <p:cNvPr id="8" name="Rounded Rectangle 13">
            <a:extLst>
              <a:ext uri="{FF2B5EF4-FFF2-40B4-BE49-F238E27FC236}">
                <a16:creationId xmlns:a16="http://schemas.microsoft.com/office/drawing/2014/main" id="{F40AC0E5-D104-CED5-A144-4DCB9A08CEF0}"/>
              </a:ext>
            </a:extLst>
          </p:cNvPr>
          <p:cNvSpPr/>
          <p:nvPr/>
        </p:nvSpPr>
        <p:spPr>
          <a:xfrm>
            <a:off x="4769463" y="931951"/>
            <a:ext cx="2395492" cy="5875315"/>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Title 3">
            <a:extLst>
              <a:ext uri="{FF2B5EF4-FFF2-40B4-BE49-F238E27FC236}">
                <a16:creationId xmlns:a16="http://schemas.microsoft.com/office/drawing/2014/main" id="{A1993180-B502-4EB5-1EE7-0AE0E9158D76}"/>
              </a:ext>
            </a:extLst>
          </p:cNvPr>
          <p:cNvSpPr txBox="1">
            <a:spLocks/>
          </p:cNvSpPr>
          <p:nvPr/>
        </p:nvSpPr>
        <p:spPr>
          <a:xfrm>
            <a:off x="606078" y="161605"/>
            <a:ext cx="11274772" cy="685801"/>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dirty="0"/>
              <a:t>Batch2 tumor samples showed clear separation with NK samples, indicating batter sample purity than batch 1 tumor samples</a:t>
            </a:r>
          </a:p>
        </p:txBody>
      </p:sp>
      <p:sp>
        <p:nvSpPr>
          <p:cNvPr id="2" name="Arrow: Right 1">
            <a:extLst>
              <a:ext uri="{FF2B5EF4-FFF2-40B4-BE49-F238E27FC236}">
                <a16:creationId xmlns:a16="http://schemas.microsoft.com/office/drawing/2014/main" id="{86E63499-4BA1-E5A1-36F7-710B16A457BD}"/>
              </a:ext>
            </a:extLst>
          </p:cNvPr>
          <p:cNvSpPr/>
          <p:nvPr/>
        </p:nvSpPr>
        <p:spPr>
          <a:xfrm>
            <a:off x="1403890" y="3639121"/>
            <a:ext cx="978407" cy="484631"/>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4" name="Arrow: Left 3">
            <a:extLst>
              <a:ext uri="{FF2B5EF4-FFF2-40B4-BE49-F238E27FC236}">
                <a16:creationId xmlns:a16="http://schemas.microsoft.com/office/drawing/2014/main" id="{50C17455-6F3D-F6DA-8474-C8C6C032A2A9}"/>
              </a:ext>
            </a:extLst>
          </p:cNvPr>
          <p:cNvSpPr/>
          <p:nvPr/>
        </p:nvSpPr>
        <p:spPr>
          <a:xfrm>
            <a:off x="9666827" y="1638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5" name="Arrow: Left 4">
            <a:extLst>
              <a:ext uri="{FF2B5EF4-FFF2-40B4-BE49-F238E27FC236}">
                <a16:creationId xmlns:a16="http://schemas.microsoft.com/office/drawing/2014/main" id="{0D9C7FDD-5CDB-499F-EEA5-D89EAAC6456C}"/>
              </a:ext>
            </a:extLst>
          </p:cNvPr>
          <p:cNvSpPr/>
          <p:nvPr/>
        </p:nvSpPr>
        <p:spPr>
          <a:xfrm>
            <a:off x="9666827" y="3543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38227350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4"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939C2E-2A2E-0E02-6DEB-B949A8B54E73}"/>
              </a:ext>
            </a:extLst>
          </p:cNvPr>
          <p:cNvPicPr>
            <a:picLocks noChangeAspect="1"/>
          </p:cNvPicPr>
          <p:nvPr/>
        </p:nvPicPr>
        <p:blipFill>
          <a:blip r:embed="rId3"/>
          <a:stretch>
            <a:fillRect/>
          </a:stretch>
        </p:blipFill>
        <p:spPr>
          <a:xfrm>
            <a:off x="2339433" y="987790"/>
            <a:ext cx="7269478" cy="5787292"/>
          </a:xfrm>
          <a:prstGeom prst="rect">
            <a:avLst/>
          </a:prstGeom>
        </p:spPr>
      </p:pic>
      <p:sp>
        <p:nvSpPr>
          <p:cNvPr id="8" name="Rounded Rectangle 13">
            <a:extLst>
              <a:ext uri="{FF2B5EF4-FFF2-40B4-BE49-F238E27FC236}">
                <a16:creationId xmlns:a16="http://schemas.microsoft.com/office/drawing/2014/main" id="{F40AC0E5-D104-CED5-A144-4DCB9A08CEF0}"/>
              </a:ext>
            </a:extLst>
          </p:cNvPr>
          <p:cNvSpPr/>
          <p:nvPr/>
        </p:nvSpPr>
        <p:spPr>
          <a:xfrm>
            <a:off x="4769463" y="931951"/>
            <a:ext cx="2395492" cy="5875315"/>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10" name="Title 3">
            <a:extLst>
              <a:ext uri="{FF2B5EF4-FFF2-40B4-BE49-F238E27FC236}">
                <a16:creationId xmlns:a16="http://schemas.microsoft.com/office/drawing/2014/main" id="{A1993180-B502-4EB5-1EE7-0AE0E9158D76}"/>
              </a:ext>
            </a:extLst>
          </p:cNvPr>
          <p:cNvSpPr txBox="1">
            <a:spLocks/>
          </p:cNvSpPr>
          <p:nvPr/>
        </p:nvSpPr>
        <p:spPr>
          <a:xfrm>
            <a:off x="606078" y="161605"/>
            <a:ext cx="11274772" cy="685801"/>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a:t>Batch2 tumor samples showed clear separation with NK samples, indicating batter sample purity than batch 1 tumor samples</a:t>
            </a:r>
          </a:p>
        </p:txBody>
      </p:sp>
      <p:sp>
        <p:nvSpPr>
          <p:cNvPr id="2" name="Arrow: Right 1">
            <a:extLst>
              <a:ext uri="{FF2B5EF4-FFF2-40B4-BE49-F238E27FC236}">
                <a16:creationId xmlns:a16="http://schemas.microsoft.com/office/drawing/2014/main" id="{86E63499-4BA1-E5A1-36F7-710B16A457BD}"/>
              </a:ext>
            </a:extLst>
          </p:cNvPr>
          <p:cNvSpPr/>
          <p:nvPr/>
        </p:nvSpPr>
        <p:spPr>
          <a:xfrm>
            <a:off x="1403890" y="3639121"/>
            <a:ext cx="978407" cy="484631"/>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4" name="Arrow: Left 3">
            <a:extLst>
              <a:ext uri="{FF2B5EF4-FFF2-40B4-BE49-F238E27FC236}">
                <a16:creationId xmlns:a16="http://schemas.microsoft.com/office/drawing/2014/main" id="{50C17455-6F3D-F6DA-8474-C8C6C032A2A9}"/>
              </a:ext>
            </a:extLst>
          </p:cNvPr>
          <p:cNvSpPr/>
          <p:nvPr/>
        </p:nvSpPr>
        <p:spPr>
          <a:xfrm>
            <a:off x="9666827" y="1638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5" name="Arrow: Left 4">
            <a:extLst>
              <a:ext uri="{FF2B5EF4-FFF2-40B4-BE49-F238E27FC236}">
                <a16:creationId xmlns:a16="http://schemas.microsoft.com/office/drawing/2014/main" id="{0D9C7FDD-5CDB-499F-EEA5-D89EAAC6456C}"/>
              </a:ext>
            </a:extLst>
          </p:cNvPr>
          <p:cNvSpPr/>
          <p:nvPr/>
        </p:nvSpPr>
        <p:spPr>
          <a:xfrm>
            <a:off x="9666827" y="3543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7" name="Straight Arrow Connector 6">
            <a:extLst>
              <a:ext uri="{FF2B5EF4-FFF2-40B4-BE49-F238E27FC236}">
                <a16:creationId xmlns:a16="http://schemas.microsoft.com/office/drawing/2014/main" id="{7AAD7908-C27E-BB1E-846F-6AC383A87A07}"/>
              </a:ext>
            </a:extLst>
          </p:cNvPr>
          <p:cNvCxnSpPr>
            <a:cxnSpLocks/>
          </p:cNvCxnSpPr>
          <p:nvPr/>
        </p:nvCxnSpPr>
        <p:spPr>
          <a:xfrm flipH="1">
            <a:off x="8201025" y="1028826"/>
            <a:ext cx="1651542" cy="9328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E0C6FCC-12BC-7E68-6AC2-51F9A60804F1}"/>
              </a:ext>
            </a:extLst>
          </p:cNvPr>
          <p:cNvSpPr txBox="1"/>
          <p:nvPr/>
        </p:nvSpPr>
        <p:spPr>
          <a:xfrm>
            <a:off x="9796516" y="705660"/>
            <a:ext cx="2037689" cy="646331"/>
          </a:xfrm>
          <a:prstGeom prst="rect">
            <a:avLst/>
          </a:prstGeom>
          <a:noFill/>
        </p:spPr>
        <p:txBody>
          <a:bodyPr wrap="square" rtlCol="0">
            <a:spAutoFit/>
          </a:bodyPr>
          <a:lstStyle/>
          <a:p>
            <a:r>
              <a:rPr lang="en-US" i="1">
                <a:solidFill>
                  <a:srgbClr val="00B0F0"/>
                </a:solidFill>
              </a:rPr>
              <a:t>Please see my comment</a:t>
            </a:r>
          </a:p>
        </p:txBody>
      </p:sp>
      <p:cxnSp>
        <p:nvCxnSpPr>
          <p:cNvPr id="12" name="Straight Arrow Connector 11">
            <a:extLst>
              <a:ext uri="{FF2B5EF4-FFF2-40B4-BE49-F238E27FC236}">
                <a16:creationId xmlns:a16="http://schemas.microsoft.com/office/drawing/2014/main" id="{9EE64CC1-3795-D3F8-4330-FABA4D650138}"/>
              </a:ext>
            </a:extLst>
          </p:cNvPr>
          <p:cNvCxnSpPr>
            <a:cxnSpLocks/>
            <a:stCxn id="11" idx="1"/>
          </p:cNvCxnSpPr>
          <p:nvPr/>
        </p:nvCxnSpPr>
        <p:spPr>
          <a:xfrm flipH="1">
            <a:off x="3317840" y="1028826"/>
            <a:ext cx="6478676" cy="28666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F0B9A69-88F5-584F-25E6-D6042ABAE8B5}"/>
              </a:ext>
            </a:extLst>
          </p:cNvPr>
          <p:cNvCxnSpPr>
            <a:cxnSpLocks/>
            <a:stCxn id="11" idx="1"/>
          </p:cNvCxnSpPr>
          <p:nvPr/>
        </p:nvCxnSpPr>
        <p:spPr>
          <a:xfrm flipH="1">
            <a:off x="3217881" y="1028826"/>
            <a:ext cx="6578635" cy="9534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4DC1E528-7994-255A-C40C-81DCA7B2AA4F}"/>
              </a:ext>
            </a:extLst>
          </p:cNvPr>
          <p:cNvSpPr/>
          <p:nvPr/>
        </p:nvSpPr>
        <p:spPr>
          <a:xfrm>
            <a:off x="5557838" y="1351991"/>
            <a:ext cx="538162" cy="991159"/>
          </a:xfrm>
          <a:prstGeom prst="ellipse">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17" name="Straight Arrow Connector 16">
            <a:extLst>
              <a:ext uri="{FF2B5EF4-FFF2-40B4-BE49-F238E27FC236}">
                <a16:creationId xmlns:a16="http://schemas.microsoft.com/office/drawing/2014/main" id="{5EC1A4F7-1E64-7541-CD57-DA6433C132A3}"/>
              </a:ext>
            </a:extLst>
          </p:cNvPr>
          <p:cNvCxnSpPr>
            <a:cxnSpLocks/>
          </p:cNvCxnSpPr>
          <p:nvPr/>
        </p:nvCxnSpPr>
        <p:spPr>
          <a:xfrm flipH="1" flipV="1">
            <a:off x="6081366" y="2102087"/>
            <a:ext cx="4315920" cy="277364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47EED47-5D83-0647-96F0-E32EF2577CB9}"/>
              </a:ext>
            </a:extLst>
          </p:cNvPr>
          <p:cNvCxnSpPr>
            <a:cxnSpLocks/>
          </p:cNvCxnSpPr>
          <p:nvPr/>
        </p:nvCxnSpPr>
        <p:spPr>
          <a:xfrm flipH="1" flipV="1">
            <a:off x="5672138" y="3948436"/>
            <a:ext cx="4877548" cy="107969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6ED10FB-8D4D-5731-A3C7-3A9D34D9B55C}"/>
              </a:ext>
            </a:extLst>
          </p:cNvPr>
          <p:cNvCxnSpPr>
            <a:cxnSpLocks/>
          </p:cNvCxnSpPr>
          <p:nvPr/>
        </p:nvCxnSpPr>
        <p:spPr>
          <a:xfrm flipH="1">
            <a:off x="5826919" y="5028134"/>
            <a:ext cx="4722767" cy="80104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CAA758D-B6C0-CBF4-64CA-F2012D9845D2}"/>
              </a:ext>
            </a:extLst>
          </p:cNvPr>
          <p:cNvCxnSpPr>
            <a:cxnSpLocks/>
          </p:cNvCxnSpPr>
          <p:nvPr/>
        </p:nvCxnSpPr>
        <p:spPr>
          <a:xfrm flipH="1" flipV="1">
            <a:off x="8062915" y="1847570"/>
            <a:ext cx="2486771" cy="318056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623FAB3-0DD8-C1B2-18D9-604B42B992AF}"/>
              </a:ext>
            </a:extLst>
          </p:cNvPr>
          <p:cNvSpPr txBox="1"/>
          <p:nvPr/>
        </p:nvSpPr>
        <p:spPr>
          <a:xfrm>
            <a:off x="10277528" y="5081132"/>
            <a:ext cx="2037689" cy="646331"/>
          </a:xfrm>
          <a:prstGeom prst="rect">
            <a:avLst/>
          </a:prstGeom>
          <a:noFill/>
        </p:spPr>
        <p:txBody>
          <a:bodyPr wrap="square" rtlCol="0">
            <a:spAutoFit/>
          </a:bodyPr>
          <a:lstStyle/>
          <a:p>
            <a:r>
              <a:rPr lang="en-US" i="1">
                <a:solidFill>
                  <a:srgbClr val="00B0F0"/>
                </a:solidFill>
              </a:rPr>
              <a:t>Please see my comment</a:t>
            </a:r>
          </a:p>
        </p:txBody>
      </p:sp>
      <p:sp>
        <p:nvSpPr>
          <p:cNvPr id="3" name="Rounded Rectangle 2">
            <a:extLst>
              <a:ext uri="{FF2B5EF4-FFF2-40B4-BE49-F238E27FC236}">
                <a16:creationId xmlns:a16="http://schemas.microsoft.com/office/drawing/2014/main" id="{81CBE9DC-C099-80B1-9252-D102EF5160A0}"/>
              </a:ext>
            </a:extLst>
          </p:cNvPr>
          <p:cNvSpPr/>
          <p:nvPr/>
        </p:nvSpPr>
        <p:spPr>
          <a:xfrm>
            <a:off x="7164955" y="4875734"/>
            <a:ext cx="2687612" cy="1899348"/>
          </a:xfrm>
          <a:prstGeom prst="roundRect">
            <a:avLst/>
          </a:prstGeom>
          <a:noFill/>
          <a:ln w="28575">
            <a:solidFill>
              <a:srgbClr val="FFC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9" name="Straight Arrow Connector 8">
            <a:extLst>
              <a:ext uri="{FF2B5EF4-FFF2-40B4-BE49-F238E27FC236}">
                <a16:creationId xmlns:a16="http://schemas.microsoft.com/office/drawing/2014/main" id="{F425285A-7574-3D68-0944-A6303259D7C9}"/>
              </a:ext>
            </a:extLst>
          </p:cNvPr>
          <p:cNvCxnSpPr>
            <a:cxnSpLocks/>
          </p:cNvCxnSpPr>
          <p:nvPr/>
        </p:nvCxnSpPr>
        <p:spPr>
          <a:xfrm flipH="1" flipV="1">
            <a:off x="9993647" y="5780461"/>
            <a:ext cx="1840558" cy="576767"/>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73534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4" grpId="0" animBg="1"/>
      <p:bldP spid="5" grpId="0" animBg="1"/>
    </p:bldLst>
  </p:timing>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4FBF32-7433-D1DF-4C7E-33F4396A89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E6C8B72-1A55-DE3C-A22A-DAC91E937A96}"/>
              </a:ext>
            </a:extLst>
          </p:cNvPr>
          <p:cNvSpPr>
            <a:spLocks noGrp="1"/>
          </p:cNvSpPr>
          <p:nvPr>
            <p:ph type="title"/>
          </p:nvPr>
        </p:nvSpPr>
        <p:spPr/>
        <p:txBody>
          <a:bodyPr/>
          <a:lstStyle/>
          <a:p>
            <a:r>
              <a:rPr lang="en-US" dirty="0"/>
              <a:t>Batch1 sequencing samples and associated metadata information</a:t>
            </a:r>
          </a:p>
        </p:txBody>
      </p:sp>
      <p:sp>
        <p:nvSpPr>
          <p:cNvPr id="5" name="Slide Number Placeholder 4">
            <a:extLst>
              <a:ext uri="{FF2B5EF4-FFF2-40B4-BE49-F238E27FC236}">
                <a16:creationId xmlns:a16="http://schemas.microsoft.com/office/drawing/2014/main" id="{323E64CA-98ED-4EAF-3118-57DB6F458F8C}"/>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82F471D6-43C6-50EB-C380-195EBD9069D3}"/>
              </a:ext>
            </a:extLst>
          </p:cNvPr>
          <p:cNvSpPr>
            <a:spLocks noGrp="1"/>
          </p:cNvSpPr>
          <p:nvPr>
            <p:ph type="body" sz="quarter" idx="16"/>
          </p:nvPr>
        </p:nvSpPr>
        <p:spPr/>
        <p:txBody>
          <a:bodyPr/>
          <a:lstStyle/>
          <a:p>
            <a:endParaRPr lang="en-US"/>
          </a:p>
        </p:txBody>
      </p:sp>
      <p:graphicFrame>
        <p:nvGraphicFramePr>
          <p:cNvPr id="10" name="Table 9">
            <a:extLst>
              <a:ext uri="{FF2B5EF4-FFF2-40B4-BE49-F238E27FC236}">
                <a16:creationId xmlns:a16="http://schemas.microsoft.com/office/drawing/2014/main" id="{3F5E5AE5-52F7-9875-0BD8-23695CEDAAFE}"/>
              </a:ext>
            </a:extLst>
          </p:cNvPr>
          <p:cNvGraphicFramePr>
            <a:graphicFrameLocks noGrp="1"/>
          </p:cNvGraphicFramePr>
          <p:nvPr>
            <p:extLst>
              <p:ext uri="{D42A27DB-BD31-4B8C-83A1-F6EECF244321}">
                <p14:modId xmlns:p14="http://schemas.microsoft.com/office/powerpoint/2010/main" val="903772873"/>
              </p:ext>
            </p:extLst>
          </p:nvPr>
        </p:nvGraphicFramePr>
        <p:xfrm>
          <a:off x="1366236" y="1694832"/>
          <a:ext cx="8925797" cy="3468335"/>
        </p:xfrm>
        <a:graphic>
          <a:graphicData uri="http://schemas.openxmlformats.org/drawingml/2006/table">
            <a:tbl>
              <a:tblPr firstRow="1" bandRow="1">
                <a:tableStyleId>{5C22544A-7EE6-4342-B048-85BDC9FD1C3A}</a:tableStyleId>
              </a:tblPr>
              <a:tblGrid>
                <a:gridCol w="1306766">
                  <a:extLst>
                    <a:ext uri="{9D8B030D-6E8A-4147-A177-3AD203B41FA5}">
                      <a16:colId xmlns:a16="http://schemas.microsoft.com/office/drawing/2014/main" val="3790985527"/>
                    </a:ext>
                  </a:extLst>
                </a:gridCol>
                <a:gridCol w="877888">
                  <a:extLst>
                    <a:ext uri="{9D8B030D-6E8A-4147-A177-3AD203B41FA5}">
                      <a16:colId xmlns:a16="http://schemas.microsoft.com/office/drawing/2014/main" val="1842421054"/>
                    </a:ext>
                  </a:extLst>
                </a:gridCol>
                <a:gridCol w="1070483">
                  <a:extLst>
                    <a:ext uri="{9D8B030D-6E8A-4147-A177-3AD203B41FA5}">
                      <a16:colId xmlns:a16="http://schemas.microsoft.com/office/drawing/2014/main" val="3422614120"/>
                    </a:ext>
                  </a:extLst>
                </a:gridCol>
                <a:gridCol w="2312226">
                  <a:extLst>
                    <a:ext uri="{9D8B030D-6E8A-4147-A177-3AD203B41FA5}">
                      <a16:colId xmlns:a16="http://schemas.microsoft.com/office/drawing/2014/main" val="411539239"/>
                    </a:ext>
                  </a:extLst>
                </a:gridCol>
                <a:gridCol w="1767332">
                  <a:extLst>
                    <a:ext uri="{9D8B030D-6E8A-4147-A177-3AD203B41FA5}">
                      <a16:colId xmlns:a16="http://schemas.microsoft.com/office/drawing/2014/main" val="4006310516"/>
                    </a:ext>
                  </a:extLst>
                </a:gridCol>
                <a:gridCol w="1591102">
                  <a:extLst>
                    <a:ext uri="{9D8B030D-6E8A-4147-A177-3AD203B41FA5}">
                      <a16:colId xmlns:a16="http://schemas.microsoft.com/office/drawing/2014/main" val="826628765"/>
                    </a:ext>
                  </a:extLst>
                </a:gridCol>
              </a:tblGrid>
              <a:tr h="557888">
                <a:tc>
                  <a:txBody>
                    <a:bodyPr/>
                    <a:lstStyle/>
                    <a:p>
                      <a:pPr algn="ctr"/>
                      <a:r>
                        <a:rPr lang="en-US" sz="1600" b="1" dirty="0">
                          <a:solidFill>
                            <a:srgbClr val="FFFFFF"/>
                          </a:solidFill>
                          <a:effectLst/>
                        </a:rPr>
                        <a:t>Date Received</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sampl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group</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Viability_NC200 (%)</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Estimated Recovery</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solidFill>
                            <a:srgbClr val="FFFFFF"/>
                          </a:solidFill>
                          <a:effectLst/>
                        </a:rPr>
                        <a:t>Potential issu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2198"/>
                  </a:ext>
                </a:extLst>
              </a:tr>
              <a:tr h="440297">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N_lib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4.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9232856"/>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FT_lib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compromised due to poor cell heal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567063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N_lib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too low to count accuratel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35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59971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N_lib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1.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4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422402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T_lib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6.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001468"/>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T_lib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87.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852534"/>
                  </a:ext>
                </a:extLst>
              </a:tr>
            </a:tbl>
          </a:graphicData>
        </a:graphic>
      </p:graphicFrame>
    </p:spTree>
    <p:extLst>
      <p:ext uri="{BB962C8B-B14F-4D97-AF65-F5344CB8AC3E}">
        <p14:creationId xmlns:p14="http://schemas.microsoft.com/office/powerpoint/2010/main" val="40899182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F3E70D-AE61-9013-5780-0DDD4FA7AABE}"/>
              </a:ext>
            </a:extLst>
          </p:cNvPr>
          <p:cNvSpPr>
            <a:spLocks noGrp="1"/>
          </p:cNvSpPr>
          <p:nvPr>
            <p:ph type="body" sz="quarter" idx="15"/>
          </p:nvPr>
        </p:nvSpPr>
        <p:spPr/>
        <p:txBody>
          <a:bodyPr/>
          <a:lstStyle/>
          <a:p>
            <a:endParaRPr lang="en-US"/>
          </a:p>
        </p:txBody>
      </p:sp>
      <p:sp>
        <p:nvSpPr>
          <p:cNvPr id="3" name="Footer Placeholder 2">
            <a:extLst>
              <a:ext uri="{FF2B5EF4-FFF2-40B4-BE49-F238E27FC236}">
                <a16:creationId xmlns:a16="http://schemas.microsoft.com/office/drawing/2014/main" id="{47055065-09A4-B842-0C8E-CDE69458AB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BEF43A80-FD21-B579-3944-C569A1D01154}"/>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A6FA33CB-3F64-3713-FD9B-318CCB82CEF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75F0369-EBD0-8119-9D63-24B772E91CF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93085991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4C6A2DC-13D2-D681-BBEC-3D3450D05628}"/>
              </a:ext>
            </a:extLst>
          </p:cNvPr>
          <p:cNvSpPr>
            <a:spLocks noGrp="1"/>
          </p:cNvSpPr>
          <p:nvPr>
            <p:ph type="ftr" sz="quarter" idx="3"/>
          </p:nvPr>
        </p:nvSpPr>
        <p:spPr/>
        <p:txBody>
          <a:bodyPr/>
          <a:lstStyle/>
          <a:p>
            <a:r>
              <a:rPr lang="en-JP" dirty="0"/>
              <a:t> </a:t>
            </a:r>
          </a:p>
        </p:txBody>
      </p:sp>
      <p:sp>
        <p:nvSpPr>
          <p:cNvPr id="5" name="Slide Number Placeholder 4">
            <a:extLst>
              <a:ext uri="{FF2B5EF4-FFF2-40B4-BE49-F238E27FC236}">
                <a16:creationId xmlns:a16="http://schemas.microsoft.com/office/drawing/2014/main" id="{4CA4EE2A-863A-0A8F-8546-ED201AD76787}"/>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BBF90785-4738-BAF0-34EF-1C87EF4C7273}"/>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BE796397-D377-DE64-4B3F-D27323E3D8AA}"/>
              </a:ext>
            </a:extLst>
          </p:cNvPr>
          <p:cNvPicPr>
            <a:picLocks noChangeAspect="1"/>
          </p:cNvPicPr>
          <p:nvPr/>
        </p:nvPicPr>
        <p:blipFill>
          <a:blip r:embed="rId2"/>
          <a:stretch>
            <a:fillRect/>
          </a:stretch>
        </p:blipFill>
        <p:spPr>
          <a:xfrm>
            <a:off x="744976" y="1035393"/>
            <a:ext cx="6378914" cy="4804052"/>
          </a:xfrm>
          <a:prstGeom prst="rect">
            <a:avLst/>
          </a:prstGeom>
        </p:spPr>
      </p:pic>
      <p:pic>
        <p:nvPicPr>
          <p:cNvPr id="11" name="Picture 10">
            <a:extLst>
              <a:ext uri="{FF2B5EF4-FFF2-40B4-BE49-F238E27FC236}">
                <a16:creationId xmlns:a16="http://schemas.microsoft.com/office/drawing/2014/main" id="{57E7A62F-FE05-AB22-1B03-150325FBCBDC}"/>
              </a:ext>
            </a:extLst>
          </p:cNvPr>
          <p:cNvPicPr>
            <a:picLocks noChangeAspect="1"/>
          </p:cNvPicPr>
          <p:nvPr/>
        </p:nvPicPr>
        <p:blipFill>
          <a:blip r:embed="rId3"/>
          <a:stretch>
            <a:fillRect/>
          </a:stretch>
        </p:blipFill>
        <p:spPr>
          <a:xfrm>
            <a:off x="7322522" y="3939640"/>
            <a:ext cx="3762072" cy="2287919"/>
          </a:xfrm>
          <a:prstGeom prst="rect">
            <a:avLst/>
          </a:prstGeom>
        </p:spPr>
      </p:pic>
      <p:pic>
        <p:nvPicPr>
          <p:cNvPr id="12" name="Picture 11">
            <a:extLst>
              <a:ext uri="{FF2B5EF4-FFF2-40B4-BE49-F238E27FC236}">
                <a16:creationId xmlns:a16="http://schemas.microsoft.com/office/drawing/2014/main" id="{497BEAD5-F9F8-3A32-2261-7097ECE05058}"/>
              </a:ext>
            </a:extLst>
          </p:cNvPr>
          <p:cNvPicPr>
            <a:picLocks noChangeAspect="1"/>
          </p:cNvPicPr>
          <p:nvPr/>
        </p:nvPicPr>
        <p:blipFill>
          <a:blip r:embed="rId4"/>
          <a:stretch>
            <a:fillRect/>
          </a:stretch>
        </p:blipFill>
        <p:spPr>
          <a:xfrm>
            <a:off x="7574426" y="1286302"/>
            <a:ext cx="4252913" cy="2819400"/>
          </a:xfrm>
          <a:prstGeom prst="rect">
            <a:avLst/>
          </a:prstGeom>
        </p:spPr>
      </p:pic>
      <p:sp>
        <p:nvSpPr>
          <p:cNvPr id="2" name="Title 3">
            <a:extLst>
              <a:ext uri="{FF2B5EF4-FFF2-40B4-BE49-F238E27FC236}">
                <a16:creationId xmlns:a16="http://schemas.microsoft.com/office/drawing/2014/main" id="{BEF87F0C-6FE9-67BD-423A-6F0661469C73}"/>
              </a:ext>
            </a:extLst>
          </p:cNvPr>
          <p:cNvSpPr txBox="1">
            <a:spLocks noGrp="1"/>
          </p:cNvSpPr>
          <p:nvPr>
            <p:ph type="title"/>
          </p:nvPr>
        </p:nvSpPr>
        <p:spPr>
          <a:xfrm>
            <a:off x="606425" y="161925"/>
            <a:ext cx="9939338" cy="685800"/>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dirty="0"/>
              <a:t>Batch1 NK samples still showed contamination of AML cells, indicating lower purity especially in Bone Marrow NK sample</a:t>
            </a:r>
          </a:p>
        </p:txBody>
      </p:sp>
    </p:spTree>
    <p:extLst>
      <p:ext uri="{BB962C8B-B14F-4D97-AF65-F5344CB8AC3E}">
        <p14:creationId xmlns:p14="http://schemas.microsoft.com/office/powerpoint/2010/main" val="4588587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64A0BF-9E1F-E7B7-89EF-D38E078ED073}"/>
              </a:ext>
            </a:extLst>
          </p:cNvPr>
          <p:cNvPicPr>
            <a:picLocks noChangeAspect="1"/>
          </p:cNvPicPr>
          <p:nvPr/>
        </p:nvPicPr>
        <p:blipFill>
          <a:blip r:embed="rId3"/>
          <a:stretch>
            <a:fillRect/>
          </a:stretch>
        </p:blipFill>
        <p:spPr>
          <a:xfrm>
            <a:off x="796582" y="1172965"/>
            <a:ext cx="3813518" cy="2533227"/>
          </a:xfrm>
          <a:prstGeom prst="rect">
            <a:avLst/>
          </a:prstGeom>
        </p:spPr>
      </p:pic>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Autofit/>
          </a:bodyPr>
          <a:lstStyle/>
          <a:p>
            <a:r>
              <a:rPr lang="en-US" sz="2400" dirty="0">
                <a:latin typeface="Calibri"/>
                <a:ea typeface="メイリオ"/>
                <a:cs typeface="Calibri"/>
              </a:rPr>
              <a:t>Unsupervised clustering in NK cells from D0-D14 showed differential expressed genes in blood and bone marrow NK cells than fresh NK</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22</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sp>
        <p:nvSpPr>
          <p:cNvPr id="9" name="Oval 8">
            <a:extLst>
              <a:ext uri="{FF2B5EF4-FFF2-40B4-BE49-F238E27FC236}">
                <a16:creationId xmlns:a16="http://schemas.microsoft.com/office/drawing/2014/main" id="{AC2EED57-8848-7427-234B-40FC4A490DB7}"/>
              </a:ext>
            </a:extLst>
          </p:cNvPr>
          <p:cNvSpPr/>
          <p:nvPr/>
        </p:nvSpPr>
        <p:spPr>
          <a:xfrm>
            <a:off x="2316956" y="1173955"/>
            <a:ext cx="926305" cy="2247899"/>
          </a:xfrm>
          <a:prstGeom prst="ellips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Arrow: Down 9">
            <a:extLst>
              <a:ext uri="{FF2B5EF4-FFF2-40B4-BE49-F238E27FC236}">
                <a16:creationId xmlns:a16="http://schemas.microsoft.com/office/drawing/2014/main" id="{8780FE11-BE06-A784-FE9E-7E36978D60D1}"/>
              </a:ext>
            </a:extLst>
          </p:cNvPr>
          <p:cNvSpPr/>
          <p:nvPr/>
        </p:nvSpPr>
        <p:spPr>
          <a:xfrm>
            <a:off x="2710433" y="3475574"/>
            <a:ext cx="210789" cy="275940"/>
          </a:xfrm>
          <a:prstGeom prst="down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4" name="Picture 3">
            <a:extLst>
              <a:ext uri="{FF2B5EF4-FFF2-40B4-BE49-F238E27FC236}">
                <a16:creationId xmlns:a16="http://schemas.microsoft.com/office/drawing/2014/main" id="{CC3D6F2D-C7EF-B411-E1FF-A09E6B927299}"/>
              </a:ext>
            </a:extLst>
          </p:cNvPr>
          <p:cNvPicPr>
            <a:picLocks noChangeAspect="1"/>
          </p:cNvPicPr>
          <p:nvPr/>
        </p:nvPicPr>
        <p:blipFill>
          <a:blip r:embed="rId4"/>
          <a:stretch>
            <a:fillRect/>
          </a:stretch>
        </p:blipFill>
        <p:spPr>
          <a:xfrm>
            <a:off x="796582" y="3759912"/>
            <a:ext cx="3813518" cy="2528110"/>
          </a:xfrm>
          <a:prstGeom prst="rect">
            <a:avLst/>
          </a:prstGeom>
        </p:spPr>
      </p:pic>
      <p:pic>
        <p:nvPicPr>
          <p:cNvPr id="14" name="Picture 13">
            <a:extLst>
              <a:ext uri="{FF2B5EF4-FFF2-40B4-BE49-F238E27FC236}">
                <a16:creationId xmlns:a16="http://schemas.microsoft.com/office/drawing/2014/main" id="{E02EEC17-383B-BBB5-D127-382F3A57E96E}"/>
              </a:ext>
            </a:extLst>
          </p:cNvPr>
          <p:cNvPicPr>
            <a:picLocks noChangeAspect="1"/>
          </p:cNvPicPr>
          <p:nvPr/>
        </p:nvPicPr>
        <p:blipFill>
          <a:blip r:embed="rId5"/>
          <a:stretch>
            <a:fillRect/>
          </a:stretch>
        </p:blipFill>
        <p:spPr>
          <a:xfrm>
            <a:off x="3807724" y="2086205"/>
            <a:ext cx="8343653" cy="2834260"/>
          </a:xfrm>
          <a:prstGeom prst="rect">
            <a:avLst/>
          </a:prstGeom>
        </p:spPr>
      </p:pic>
    </p:spTree>
    <p:extLst>
      <p:ext uri="{BB962C8B-B14F-4D97-AF65-F5344CB8AC3E}">
        <p14:creationId xmlns:p14="http://schemas.microsoft.com/office/powerpoint/2010/main" val="33969175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941E43B-538E-52F3-C816-FBAB7126D138}"/>
              </a:ext>
            </a:extLst>
          </p:cNvPr>
          <p:cNvSpPr>
            <a:spLocks noGrp="1"/>
          </p:cNvSpPr>
          <p:nvPr>
            <p:ph type="ftr" sz="quarter" idx="3"/>
          </p:nvPr>
        </p:nvSpPr>
        <p:spPr>
          <a:xfrm>
            <a:off x="7800774" y="4887479"/>
            <a:ext cx="4114800" cy="196131"/>
          </a:xfrm>
        </p:spPr>
        <p:txBody>
          <a:bodyPr/>
          <a:lstStyle/>
          <a:p>
            <a:r>
              <a:rPr lang="en-JP"/>
              <a:t> </a:t>
            </a:r>
            <a:endParaRPr lang="en-JP" dirty="0"/>
          </a:p>
        </p:txBody>
      </p:sp>
      <p:sp>
        <p:nvSpPr>
          <p:cNvPr id="4" name="Title 3">
            <a:extLst>
              <a:ext uri="{FF2B5EF4-FFF2-40B4-BE49-F238E27FC236}">
                <a16:creationId xmlns:a16="http://schemas.microsoft.com/office/drawing/2014/main" id="{1889D0E2-C257-63D2-4594-4605A49B8C76}"/>
              </a:ext>
            </a:extLst>
          </p:cNvPr>
          <p:cNvSpPr>
            <a:spLocks noGrp="1"/>
          </p:cNvSpPr>
          <p:nvPr>
            <p:ph type="title"/>
          </p:nvPr>
        </p:nvSpPr>
        <p:spPr/>
        <p:txBody>
          <a:bodyPr>
            <a:normAutofit fontScale="90000"/>
          </a:bodyPr>
          <a:lstStyle/>
          <a:p>
            <a:r>
              <a:rPr lang="en-US" dirty="0"/>
              <a:t>Fresh NK cells over express hallmark pathways associated with immune function, proliferation and metabolic activities(OXPHOS)</a:t>
            </a:r>
          </a:p>
        </p:txBody>
      </p:sp>
      <p:sp>
        <p:nvSpPr>
          <p:cNvPr id="5" name="Slide Number Placeholder 4">
            <a:extLst>
              <a:ext uri="{FF2B5EF4-FFF2-40B4-BE49-F238E27FC236}">
                <a16:creationId xmlns:a16="http://schemas.microsoft.com/office/drawing/2014/main" id="{CF7D93DC-8083-827B-C287-7CAA90E6773F}"/>
              </a:ext>
            </a:extLst>
          </p:cNvPr>
          <p:cNvSpPr>
            <a:spLocks noGrp="1"/>
          </p:cNvSpPr>
          <p:nvPr>
            <p:ph type="sldNum" sz="quarter" idx="4"/>
          </p:nvPr>
        </p:nvSpPr>
        <p:spPr>
          <a:xfrm>
            <a:off x="222695" y="6577383"/>
            <a:ext cx="294928" cy="196131"/>
          </a:xfrm>
        </p:spPr>
        <p:txBody>
          <a:bodyPr/>
          <a:lstStyle/>
          <a:p>
            <a:pPr defTabSz="1218810"/>
            <a:fld id="{E9B57936-92EF-4126-AE48-1D9D36D15E98}" type="slidenum">
              <a:rPr lang="ja-JP" altLang="en-US" smtClean="0"/>
              <a:pPr defTabSz="1218810"/>
              <a:t>23</a:t>
            </a:fld>
            <a:endParaRPr lang="ja-JP" altLang="en-US"/>
          </a:p>
        </p:txBody>
      </p:sp>
      <p:pic>
        <p:nvPicPr>
          <p:cNvPr id="14" name="Picture 13">
            <a:extLst>
              <a:ext uri="{FF2B5EF4-FFF2-40B4-BE49-F238E27FC236}">
                <a16:creationId xmlns:a16="http://schemas.microsoft.com/office/drawing/2014/main" id="{7E3821D4-319A-A5AF-56D8-1B6DC06C6F04}"/>
              </a:ext>
            </a:extLst>
          </p:cNvPr>
          <p:cNvPicPr>
            <a:picLocks noChangeAspect="1"/>
          </p:cNvPicPr>
          <p:nvPr/>
        </p:nvPicPr>
        <p:blipFill>
          <a:blip r:embed="rId2"/>
          <a:stretch>
            <a:fillRect/>
          </a:stretch>
        </p:blipFill>
        <p:spPr>
          <a:xfrm>
            <a:off x="1018873" y="2173979"/>
            <a:ext cx="3657600" cy="2438400"/>
          </a:xfrm>
          <a:prstGeom prst="rect">
            <a:avLst/>
          </a:prstGeom>
        </p:spPr>
      </p:pic>
      <p:pic>
        <p:nvPicPr>
          <p:cNvPr id="15" name="Picture 14">
            <a:extLst>
              <a:ext uri="{FF2B5EF4-FFF2-40B4-BE49-F238E27FC236}">
                <a16:creationId xmlns:a16="http://schemas.microsoft.com/office/drawing/2014/main" id="{EC6A97CE-203E-EFDF-B0D0-CD83D8E32BBC}"/>
              </a:ext>
            </a:extLst>
          </p:cNvPr>
          <p:cNvPicPr>
            <a:picLocks noChangeAspect="1"/>
          </p:cNvPicPr>
          <p:nvPr/>
        </p:nvPicPr>
        <p:blipFill>
          <a:blip r:embed="rId3"/>
          <a:stretch>
            <a:fillRect/>
          </a:stretch>
        </p:blipFill>
        <p:spPr>
          <a:xfrm>
            <a:off x="4676473" y="2173979"/>
            <a:ext cx="3657600" cy="2525946"/>
          </a:xfrm>
          <a:prstGeom prst="rect">
            <a:avLst/>
          </a:prstGeom>
        </p:spPr>
      </p:pic>
      <p:pic>
        <p:nvPicPr>
          <p:cNvPr id="16" name="Picture 15">
            <a:extLst>
              <a:ext uri="{FF2B5EF4-FFF2-40B4-BE49-F238E27FC236}">
                <a16:creationId xmlns:a16="http://schemas.microsoft.com/office/drawing/2014/main" id="{BF6C6B26-1502-0FC4-D7EB-72CC1FB45C97}"/>
              </a:ext>
            </a:extLst>
          </p:cNvPr>
          <p:cNvPicPr>
            <a:picLocks noChangeAspect="1"/>
          </p:cNvPicPr>
          <p:nvPr/>
        </p:nvPicPr>
        <p:blipFill>
          <a:blip r:embed="rId4"/>
          <a:stretch>
            <a:fillRect/>
          </a:stretch>
        </p:blipFill>
        <p:spPr>
          <a:xfrm>
            <a:off x="8257974" y="2173979"/>
            <a:ext cx="3657600" cy="2510042"/>
          </a:xfrm>
          <a:prstGeom prst="rect">
            <a:avLst/>
          </a:prstGeom>
        </p:spPr>
      </p:pic>
      <p:sp>
        <p:nvSpPr>
          <p:cNvPr id="17" name="Arrow: Right 16">
            <a:extLst>
              <a:ext uri="{FF2B5EF4-FFF2-40B4-BE49-F238E27FC236}">
                <a16:creationId xmlns:a16="http://schemas.microsoft.com/office/drawing/2014/main" id="{75922574-5FCC-3A7C-B86E-9B67AA7B90D5}"/>
              </a:ext>
            </a:extLst>
          </p:cNvPr>
          <p:cNvSpPr/>
          <p:nvPr/>
        </p:nvSpPr>
        <p:spPr>
          <a:xfrm>
            <a:off x="868101" y="3457339"/>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8" name="Arrow: Right 17">
            <a:extLst>
              <a:ext uri="{FF2B5EF4-FFF2-40B4-BE49-F238E27FC236}">
                <a16:creationId xmlns:a16="http://schemas.microsoft.com/office/drawing/2014/main" id="{8810F383-7A36-FA8B-30DE-EFA5309AE52E}"/>
              </a:ext>
            </a:extLst>
          </p:cNvPr>
          <p:cNvSpPr/>
          <p:nvPr/>
        </p:nvSpPr>
        <p:spPr>
          <a:xfrm>
            <a:off x="868101" y="3644482"/>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Arrow: Right 18">
            <a:extLst>
              <a:ext uri="{FF2B5EF4-FFF2-40B4-BE49-F238E27FC236}">
                <a16:creationId xmlns:a16="http://schemas.microsoft.com/office/drawing/2014/main" id="{E00E2F96-E34E-000D-97AC-D6993F78179F}"/>
              </a:ext>
            </a:extLst>
          </p:cNvPr>
          <p:cNvSpPr/>
          <p:nvPr/>
        </p:nvSpPr>
        <p:spPr>
          <a:xfrm>
            <a:off x="345874" y="3840488"/>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1" name="Arrow: Right 20">
            <a:extLst>
              <a:ext uri="{FF2B5EF4-FFF2-40B4-BE49-F238E27FC236}">
                <a16:creationId xmlns:a16="http://schemas.microsoft.com/office/drawing/2014/main" id="{85C28BC4-FD75-23C4-26AC-4E69BC96739F}"/>
              </a:ext>
            </a:extLst>
          </p:cNvPr>
          <p:cNvSpPr/>
          <p:nvPr/>
        </p:nvSpPr>
        <p:spPr>
          <a:xfrm>
            <a:off x="884096" y="2733034"/>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2" name="Arrow: Right 21">
            <a:extLst>
              <a:ext uri="{FF2B5EF4-FFF2-40B4-BE49-F238E27FC236}">
                <a16:creationId xmlns:a16="http://schemas.microsoft.com/office/drawing/2014/main" id="{D928E670-6D46-83DA-ECBD-66D5397007A0}"/>
              </a:ext>
            </a:extLst>
          </p:cNvPr>
          <p:cNvSpPr/>
          <p:nvPr/>
        </p:nvSpPr>
        <p:spPr>
          <a:xfrm>
            <a:off x="889883" y="253222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3" name="Arrow: Right 22">
            <a:extLst>
              <a:ext uri="{FF2B5EF4-FFF2-40B4-BE49-F238E27FC236}">
                <a16:creationId xmlns:a16="http://schemas.microsoft.com/office/drawing/2014/main" id="{B586344F-1EE3-6277-55A8-6F50B1F4DE6A}"/>
              </a:ext>
            </a:extLst>
          </p:cNvPr>
          <p:cNvSpPr/>
          <p:nvPr/>
        </p:nvSpPr>
        <p:spPr>
          <a:xfrm>
            <a:off x="370159" y="4027631"/>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4" name="Arrow: Right 23">
            <a:extLst>
              <a:ext uri="{FF2B5EF4-FFF2-40B4-BE49-F238E27FC236}">
                <a16:creationId xmlns:a16="http://schemas.microsoft.com/office/drawing/2014/main" id="{9AB988EF-7A6E-FE2F-EC8A-0E388942BEED}"/>
              </a:ext>
            </a:extLst>
          </p:cNvPr>
          <p:cNvSpPr/>
          <p:nvPr/>
        </p:nvSpPr>
        <p:spPr>
          <a:xfrm>
            <a:off x="4317357" y="3121673"/>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5" name="Arrow: Right 24">
            <a:extLst>
              <a:ext uri="{FF2B5EF4-FFF2-40B4-BE49-F238E27FC236}">
                <a16:creationId xmlns:a16="http://schemas.microsoft.com/office/drawing/2014/main" id="{ED0C8F08-EA36-22AA-1723-3DB931BD825A}"/>
              </a:ext>
            </a:extLst>
          </p:cNvPr>
          <p:cNvSpPr/>
          <p:nvPr/>
        </p:nvSpPr>
        <p:spPr>
          <a:xfrm>
            <a:off x="7910433" y="2847415"/>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6" name="Arrow: Right 25">
            <a:extLst>
              <a:ext uri="{FF2B5EF4-FFF2-40B4-BE49-F238E27FC236}">
                <a16:creationId xmlns:a16="http://schemas.microsoft.com/office/drawing/2014/main" id="{B1139292-E1D3-E50A-E044-4065BC8E6D1D}"/>
              </a:ext>
            </a:extLst>
          </p:cNvPr>
          <p:cNvSpPr/>
          <p:nvPr/>
        </p:nvSpPr>
        <p:spPr>
          <a:xfrm>
            <a:off x="4496915" y="4091250"/>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2786644049"/>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87E0D0-18AC-22E2-B810-E811CD8C962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551795-7791-10C7-9B41-75BFD6743DF8}"/>
              </a:ext>
            </a:extLst>
          </p:cNvPr>
          <p:cNvSpPr>
            <a:spLocks noGrp="1"/>
          </p:cNvSpPr>
          <p:nvPr>
            <p:ph type="title"/>
          </p:nvPr>
        </p:nvSpPr>
        <p:spPr/>
        <p:txBody>
          <a:bodyPr>
            <a:normAutofit fontScale="90000"/>
          </a:bodyPr>
          <a:lstStyle/>
          <a:p>
            <a:r>
              <a:rPr lang="en-US" dirty="0"/>
              <a:t>NK functional receptor expression profiles shifted largely between fresh VS post infusion NK cells</a:t>
            </a:r>
          </a:p>
        </p:txBody>
      </p:sp>
      <p:sp>
        <p:nvSpPr>
          <p:cNvPr id="5" name="Slide Number Placeholder 4">
            <a:extLst>
              <a:ext uri="{FF2B5EF4-FFF2-40B4-BE49-F238E27FC236}">
                <a16:creationId xmlns:a16="http://schemas.microsoft.com/office/drawing/2014/main" id="{5CD8D9C8-2381-16F7-F9A4-BB6D5C77D83A}"/>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62883052-E3B6-956D-4628-F9ADCEB5569C}"/>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EBB7495-D65A-2E05-9CA4-173EF52932F0}"/>
              </a:ext>
            </a:extLst>
          </p:cNvPr>
          <p:cNvPicPr>
            <a:picLocks noChangeAspect="1"/>
          </p:cNvPicPr>
          <p:nvPr/>
        </p:nvPicPr>
        <p:blipFill>
          <a:blip r:embed="rId2"/>
          <a:stretch>
            <a:fillRect/>
          </a:stretch>
        </p:blipFill>
        <p:spPr>
          <a:xfrm>
            <a:off x="0" y="825995"/>
            <a:ext cx="12192000" cy="2708733"/>
          </a:xfrm>
          <a:prstGeom prst="rect">
            <a:avLst/>
          </a:prstGeom>
        </p:spPr>
      </p:pic>
      <p:pic>
        <p:nvPicPr>
          <p:cNvPr id="9" name="Picture 8">
            <a:extLst>
              <a:ext uri="{FF2B5EF4-FFF2-40B4-BE49-F238E27FC236}">
                <a16:creationId xmlns:a16="http://schemas.microsoft.com/office/drawing/2014/main" id="{70D93534-4290-8AE1-7EAF-7E0EB76274F2}"/>
              </a:ext>
            </a:extLst>
          </p:cNvPr>
          <p:cNvPicPr>
            <a:picLocks noChangeAspect="1"/>
          </p:cNvPicPr>
          <p:nvPr/>
        </p:nvPicPr>
        <p:blipFill>
          <a:blip r:embed="rId3"/>
          <a:stretch>
            <a:fillRect/>
          </a:stretch>
        </p:blipFill>
        <p:spPr>
          <a:xfrm>
            <a:off x="0" y="3520857"/>
            <a:ext cx="11273742" cy="3002144"/>
          </a:xfrm>
          <a:prstGeom prst="rect">
            <a:avLst/>
          </a:prstGeom>
        </p:spPr>
      </p:pic>
      <p:sp>
        <p:nvSpPr>
          <p:cNvPr id="10" name="Rectangle: Rounded Corners 9">
            <a:extLst>
              <a:ext uri="{FF2B5EF4-FFF2-40B4-BE49-F238E27FC236}">
                <a16:creationId xmlns:a16="http://schemas.microsoft.com/office/drawing/2014/main" id="{5CB99734-CDF1-78DC-1169-6EB699D0F2A1}"/>
              </a:ext>
            </a:extLst>
          </p:cNvPr>
          <p:cNvSpPr/>
          <p:nvPr/>
        </p:nvSpPr>
        <p:spPr>
          <a:xfrm>
            <a:off x="1469985" y="1837479"/>
            <a:ext cx="844952"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ectangle: Rounded Corners 10">
            <a:extLst>
              <a:ext uri="{FF2B5EF4-FFF2-40B4-BE49-F238E27FC236}">
                <a16:creationId xmlns:a16="http://schemas.microsoft.com/office/drawing/2014/main" id="{5326A14A-16B5-C8D3-BF78-AAFB3511AA48}"/>
              </a:ext>
            </a:extLst>
          </p:cNvPr>
          <p:cNvSpPr/>
          <p:nvPr/>
        </p:nvSpPr>
        <p:spPr>
          <a:xfrm>
            <a:off x="2664106" y="1844982"/>
            <a:ext cx="333737"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Rectangle: Rounded Corners 11">
            <a:extLst>
              <a:ext uri="{FF2B5EF4-FFF2-40B4-BE49-F238E27FC236}">
                <a16:creationId xmlns:a16="http://schemas.microsoft.com/office/drawing/2014/main" id="{A3AF1964-2E3F-C7DC-FD72-1A53433727C8}"/>
              </a:ext>
            </a:extLst>
          </p:cNvPr>
          <p:cNvSpPr/>
          <p:nvPr/>
        </p:nvSpPr>
        <p:spPr>
          <a:xfrm>
            <a:off x="4425387" y="1846908"/>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Rectangle: Rounded Corners 12">
            <a:extLst>
              <a:ext uri="{FF2B5EF4-FFF2-40B4-BE49-F238E27FC236}">
                <a16:creationId xmlns:a16="http://schemas.microsoft.com/office/drawing/2014/main" id="{E49EB873-D6A5-2469-B0C9-47D8C4FC181E}"/>
              </a:ext>
            </a:extLst>
          </p:cNvPr>
          <p:cNvSpPr/>
          <p:nvPr/>
        </p:nvSpPr>
        <p:spPr>
          <a:xfrm>
            <a:off x="5885726" y="1860408"/>
            <a:ext cx="1880324"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Rectangle: Rounded Corners 13">
            <a:extLst>
              <a:ext uri="{FF2B5EF4-FFF2-40B4-BE49-F238E27FC236}">
                <a16:creationId xmlns:a16="http://schemas.microsoft.com/office/drawing/2014/main" id="{D2C73761-50FE-D1E7-64DD-EBB61D0F6986}"/>
              </a:ext>
            </a:extLst>
          </p:cNvPr>
          <p:cNvSpPr/>
          <p:nvPr/>
        </p:nvSpPr>
        <p:spPr>
          <a:xfrm>
            <a:off x="8549832" y="1850763"/>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5" name="Rectangle: Rounded Corners 14">
            <a:extLst>
              <a:ext uri="{FF2B5EF4-FFF2-40B4-BE49-F238E27FC236}">
                <a16:creationId xmlns:a16="http://schemas.microsoft.com/office/drawing/2014/main" id="{8EC5E304-D3C9-047D-3D90-0601A74EFE6D}"/>
              </a:ext>
            </a:extLst>
          </p:cNvPr>
          <p:cNvSpPr/>
          <p:nvPr/>
        </p:nvSpPr>
        <p:spPr>
          <a:xfrm>
            <a:off x="4257554" y="4755859"/>
            <a:ext cx="162817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6" name="Rectangle: Rounded Corners 15">
            <a:extLst>
              <a:ext uri="{FF2B5EF4-FFF2-40B4-BE49-F238E27FC236}">
                <a16:creationId xmlns:a16="http://schemas.microsoft.com/office/drawing/2014/main" id="{118FB801-5A9E-0302-1C59-F1BBB9FB1B16}"/>
              </a:ext>
            </a:extLst>
          </p:cNvPr>
          <p:cNvSpPr/>
          <p:nvPr/>
        </p:nvSpPr>
        <p:spPr>
          <a:xfrm>
            <a:off x="8727311" y="4755859"/>
            <a:ext cx="31830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3141400691"/>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9DDAF6-FF94-72F8-F69A-F9B6A537A13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4409CA5-64C5-E3BD-0BAE-F0F847634D6F}"/>
              </a:ext>
            </a:extLst>
          </p:cNvPr>
          <p:cNvSpPr>
            <a:spLocks noGrp="1"/>
          </p:cNvSpPr>
          <p:nvPr>
            <p:ph type="title"/>
          </p:nvPr>
        </p:nvSpPr>
        <p:spPr>
          <a:xfrm>
            <a:off x="458614" y="141258"/>
            <a:ext cx="11274772" cy="685801"/>
          </a:xfrm>
        </p:spPr>
        <p:txBody>
          <a:bodyPr>
            <a:normAutofit fontScale="90000"/>
          </a:bodyPr>
          <a:lstStyle/>
          <a:p>
            <a:r>
              <a:rPr lang="en-US" dirty="0"/>
              <a:t>GMDS (NK resistance genes) expression is elevated in bone marrow NK sample (</a:t>
            </a:r>
            <a:r>
              <a:rPr lang="en-US" b="0" i="0" dirty="0">
                <a:solidFill>
                  <a:srgbClr val="212121"/>
                </a:solidFill>
                <a:effectLst/>
                <a:latin typeface="BlinkMacSystemFont"/>
              </a:rPr>
              <a:t>PMID: 38091953</a:t>
            </a:r>
            <a:r>
              <a:rPr lang="en-US" dirty="0"/>
              <a:t>)</a:t>
            </a:r>
          </a:p>
        </p:txBody>
      </p:sp>
      <p:sp>
        <p:nvSpPr>
          <p:cNvPr id="5" name="Slide Number Placeholder 4">
            <a:extLst>
              <a:ext uri="{FF2B5EF4-FFF2-40B4-BE49-F238E27FC236}">
                <a16:creationId xmlns:a16="http://schemas.microsoft.com/office/drawing/2014/main" id="{A66E9531-F997-D1AB-38E0-206D7AFDF1D3}"/>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D44A11F5-3EDE-95FD-2DB6-3875DF80A24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C866E26B-629F-2111-ED90-09F6F85541E8}"/>
              </a:ext>
            </a:extLst>
          </p:cNvPr>
          <p:cNvPicPr>
            <a:picLocks noChangeAspect="1"/>
          </p:cNvPicPr>
          <p:nvPr/>
        </p:nvPicPr>
        <p:blipFill>
          <a:blip r:embed="rId2"/>
          <a:stretch>
            <a:fillRect/>
          </a:stretch>
        </p:blipFill>
        <p:spPr>
          <a:xfrm>
            <a:off x="2509944" y="1407423"/>
            <a:ext cx="6552438" cy="3502974"/>
          </a:xfrm>
          <a:prstGeom prst="rect">
            <a:avLst/>
          </a:prstGeom>
        </p:spPr>
      </p:pic>
    </p:spTree>
    <p:extLst>
      <p:ext uri="{BB962C8B-B14F-4D97-AF65-F5344CB8AC3E}">
        <p14:creationId xmlns:p14="http://schemas.microsoft.com/office/powerpoint/2010/main" val="399549636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9D47759-3B31-DAD5-F1A9-79AE04BAB85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F98FB87-E463-EB81-AA0C-DE3F9C24B751}"/>
              </a:ext>
            </a:extLst>
          </p:cNvPr>
          <p:cNvSpPr>
            <a:spLocks noGrp="1"/>
          </p:cNvSpPr>
          <p:nvPr>
            <p:ph type="title"/>
          </p:nvPr>
        </p:nvSpPr>
        <p:spPr/>
        <p:txBody>
          <a:bodyPr>
            <a:normAutofit fontScale="90000"/>
          </a:bodyPr>
          <a:lstStyle/>
          <a:p>
            <a:r>
              <a:rPr lang="en-US" dirty="0"/>
              <a:t>NK exhaustion marker expression profiles shifted largely between fresh VS post infusion NK cells</a:t>
            </a:r>
          </a:p>
        </p:txBody>
      </p:sp>
      <p:sp>
        <p:nvSpPr>
          <p:cNvPr id="5" name="Slide Number Placeholder 4">
            <a:extLst>
              <a:ext uri="{FF2B5EF4-FFF2-40B4-BE49-F238E27FC236}">
                <a16:creationId xmlns:a16="http://schemas.microsoft.com/office/drawing/2014/main" id="{195C7B94-63C6-8079-0B56-50E32543F49B}"/>
              </a:ext>
            </a:extLst>
          </p:cNvPr>
          <p:cNvSpPr>
            <a:spLocks noGrp="1"/>
          </p:cNvSpPr>
          <p:nvPr>
            <p:ph type="sldNum" sz="quarter" idx="4"/>
          </p:nvPr>
        </p:nvSpPr>
        <p:spPr/>
        <p:txBody>
          <a:bodyPr/>
          <a:lstStyle/>
          <a:p>
            <a:pPr defTabSz="1218810"/>
            <a:fld id="{E9B57936-92EF-4126-AE48-1D9D36D15E98}" type="slidenum">
              <a:rPr lang="ja-JP" altLang="en-US" smtClean="0"/>
              <a:pPr defTabSz="1218810"/>
              <a:t>26</a:t>
            </a:fld>
            <a:endParaRPr lang="ja-JP" altLang="en-US"/>
          </a:p>
        </p:txBody>
      </p:sp>
      <p:sp>
        <p:nvSpPr>
          <p:cNvPr id="6" name="Text Placeholder 5">
            <a:extLst>
              <a:ext uri="{FF2B5EF4-FFF2-40B4-BE49-F238E27FC236}">
                <a16:creationId xmlns:a16="http://schemas.microsoft.com/office/drawing/2014/main" id="{25CAAFC0-2E47-1CFA-DBB1-DC5217C8932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76DFC6F-53BD-E60E-3434-473BA65F1E8A}"/>
              </a:ext>
            </a:extLst>
          </p:cNvPr>
          <p:cNvPicPr>
            <a:picLocks noChangeAspect="1"/>
          </p:cNvPicPr>
          <p:nvPr/>
        </p:nvPicPr>
        <p:blipFill rotWithShape="1">
          <a:blip r:embed="rId2"/>
          <a:srcRect l="22785" t="33418" r="24716" b="9705"/>
          <a:stretch/>
        </p:blipFill>
        <p:spPr>
          <a:xfrm>
            <a:off x="311150" y="1598834"/>
            <a:ext cx="4696682" cy="2862175"/>
          </a:xfrm>
          <a:prstGeom prst="rect">
            <a:avLst/>
          </a:prstGeom>
        </p:spPr>
      </p:pic>
      <p:sp>
        <p:nvSpPr>
          <p:cNvPr id="9" name="TextBox 8">
            <a:extLst>
              <a:ext uri="{FF2B5EF4-FFF2-40B4-BE49-F238E27FC236}">
                <a16:creationId xmlns:a16="http://schemas.microsoft.com/office/drawing/2014/main" id="{5F44FEE8-242E-ACC9-A726-3013EF9D5582}"/>
              </a:ext>
            </a:extLst>
          </p:cNvPr>
          <p:cNvSpPr txBox="1"/>
          <p:nvPr/>
        </p:nvSpPr>
        <p:spPr>
          <a:xfrm>
            <a:off x="595936" y="5474825"/>
            <a:ext cx="11000127" cy="923330"/>
          </a:xfrm>
          <a:prstGeom prst="rect">
            <a:avLst/>
          </a:prstGeom>
          <a:noFill/>
        </p:spPr>
        <p:txBody>
          <a:bodyPr wrap="none" rtlCol="0">
            <a:spAutoFit/>
          </a:bodyPr>
          <a:lstStyle/>
          <a:p>
            <a:r>
              <a:rPr lang="en-US" b="1" i="0" dirty="0">
                <a:solidFill>
                  <a:srgbClr val="212121"/>
                </a:solidFill>
                <a:effectLst/>
                <a:latin typeface="Merriweather" panose="00000500000000000000" pitchFamily="2" charset="0"/>
              </a:rPr>
              <a:t>NK-cell exhaustion, B-cell exhaustion and T-cell exhaustion-the differences and similarities</a:t>
            </a:r>
          </a:p>
          <a:p>
            <a:r>
              <a:rPr lang="en-US" b="0" i="0" dirty="0">
                <a:solidFill>
                  <a:srgbClr val="212121"/>
                </a:solidFill>
                <a:effectLst/>
                <a:latin typeface="BlinkMacSystemFont"/>
              </a:rPr>
              <a:t>Immunology  2022 Jun;166(2):155-168.</a:t>
            </a:r>
          </a:p>
          <a:p>
            <a:r>
              <a:rPr lang="en-US" b="0" i="0" dirty="0">
                <a:solidFill>
                  <a:srgbClr val="212121"/>
                </a:solidFill>
                <a:effectLst/>
                <a:latin typeface="BlinkMacSystemFont"/>
              </a:rPr>
              <a:t>PMID: 35266556</a:t>
            </a:r>
          </a:p>
        </p:txBody>
      </p:sp>
      <p:pic>
        <p:nvPicPr>
          <p:cNvPr id="12" name="Picture 11">
            <a:extLst>
              <a:ext uri="{FF2B5EF4-FFF2-40B4-BE49-F238E27FC236}">
                <a16:creationId xmlns:a16="http://schemas.microsoft.com/office/drawing/2014/main" id="{F0159858-E8D5-B7EE-CC5E-C4949F3F7057}"/>
              </a:ext>
            </a:extLst>
          </p:cNvPr>
          <p:cNvPicPr>
            <a:picLocks noChangeAspect="1"/>
          </p:cNvPicPr>
          <p:nvPr/>
        </p:nvPicPr>
        <p:blipFill>
          <a:blip r:embed="rId3"/>
          <a:stretch>
            <a:fillRect/>
          </a:stretch>
        </p:blipFill>
        <p:spPr>
          <a:xfrm>
            <a:off x="3709020" y="1193691"/>
            <a:ext cx="8374166" cy="3934849"/>
          </a:xfrm>
          <a:prstGeom prst="rect">
            <a:avLst/>
          </a:prstGeom>
        </p:spPr>
      </p:pic>
    </p:spTree>
    <p:extLst>
      <p:ext uri="{BB962C8B-B14F-4D97-AF65-F5344CB8AC3E}">
        <p14:creationId xmlns:p14="http://schemas.microsoft.com/office/powerpoint/2010/main" val="403761026"/>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Autofit/>
          </a:bodyPr>
          <a:lstStyle/>
          <a:p>
            <a:r>
              <a:rPr lang="en-US" sz="2400" dirty="0">
                <a:latin typeface="Calibri"/>
                <a:ea typeface="メイリオ"/>
                <a:cs typeface="Calibri"/>
              </a:rPr>
              <a:t>Unsupervised clustering in tumor cells from D0-D14 showed differential expressed genes in blood and bone marrow tumor cells than fresh tumor</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27</a:t>
            </a:fld>
            <a:endParaRPr lang="ja-JP" altLang="en-US" dirty="0"/>
          </a:p>
        </p:txBody>
      </p:sp>
      <p:pic>
        <p:nvPicPr>
          <p:cNvPr id="2" name="Picture 1" descr="A close-up of a chart&#10;&#10;Description automatically generated">
            <a:extLst>
              <a:ext uri="{FF2B5EF4-FFF2-40B4-BE49-F238E27FC236}">
                <a16:creationId xmlns:a16="http://schemas.microsoft.com/office/drawing/2014/main" id="{41322117-43C4-B07F-E57D-F7668BB8040B}"/>
              </a:ext>
            </a:extLst>
          </p:cNvPr>
          <p:cNvPicPr>
            <a:picLocks noChangeAspect="1"/>
          </p:cNvPicPr>
          <p:nvPr/>
        </p:nvPicPr>
        <p:blipFill>
          <a:blip r:embed="rId3"/>
          <a:stretch>
            <a:fillRect/>
          </a:stretch>
        </p:blipFill>
        <p:spPr>
          <a:xfrm>
            <a:off x="3451410" y="2140631"/>
            <a:ext cx="8740590" cy="3345140"/>
          </a:xfrm>
          <a:prstGeom prst="rect">
            <a:avLst/>
          </a:prstGeom>
        </p:spPr>
      </p:pic>
      <p:pic>
        <p:nvPicPr>
          <p:cNvPr id="3" name="Picture 2">
            <a:extLst>
              <a:ext uri="{FF2B5EF4-FFF2-40B4-BE49-F238E27FC236}">
                <a16:creationId xmlns:a16="http://schemas.microsoft.com/office/drawing/2014/main" id="{435B3EF4-5D38-113F-E3A9-EDC59FFB8454}"/>
              </a:ext>
            </a:extLst>
          </p:cNvPr>
          <p:cNvPicPr>
            <a:picLocks noChangeAspect="1"/>
          </p:cNvPicPr>
          <p:nvPr/>
        </p:nvPicPr>
        <p:blipFill>
          <a:blip r:embed="rId4"/>
          <a:stretch>
            <a:fillRect/>
          </a:stretch>
        </p:blipFill>
        <p:spPr>
          <a:xfrm>
            <a:off x="369095" y="2423275"/>
            <a:ext cx="3156766" cy="2110235"/>
          </a:xfrm>
          <a:prstGeom prst="rect">
            <a:avLst/>
          </a:prstGeom>
        </p:spPr>
      </p:pic>
    </p:spTree>
    <p:extLst>
      <p:ext uri="{BB962C8B-B14F-4D97-AF65-F5344CB8AC3E}">
        <p14:creationId xmlns:p14="http://schemas.microsoft.com/office/powerpoint/2010/main" val="252416180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89D0E2-C257-63D2-4594-4605A49B8C76}"/>
              </a:ext>
            </a:extLst>
          </p:cNvPr>
          <p:cNvSpPr>
            <a:spLocks noGrp="1"/>
          </p:cNvSpPr>
          <p:nvPr>
            <p:ph type="title"/>
          </p:nvPr>
        </p:nvSpPr>
        <p:spPr/>
        <p:txBody>
          <a:bodyPr>
            <a:normAutofit fontScale="90000"/>
          </a:bodyPr>
          <a:lstStyle/>
          <a:p>
            <a:r>
              <a:rPr lang="en-US" sz="2800" dirty="0">
                <a:latin typeface="Calibri"/>
                <a:ea typeface="メイリオ"/>
                <a:cs typeface="Calibri"/>
              </a:rPr>
              <a:t>Bone marrow and blood AML cells over-express pathways associated with proliferation and metabolism</a:t>
            </a:r>
            <a:endParaRPr lang="en-US" dirty="0"/>
          </a:p>
        </p:txBody>
      </p:sp>
      <p:sp>
        <p:nvSpPr>
          <p:cNvPr id="5" name="Slide Number Placeholder 4">
            <a:extLst>
              <a:ext uri="{FF2B5EF4-FFF2-40B4-BE49-F238E27FC236}">
                <a16:creationId xmlns:a16="http://schemas.microsoft.com/office/drawing/2014/main" id="{CF7D93DC-8083-827B-C287-7CAA90E6773F}"/>
              </a:ext>
            </a:extLst>
          </p:cNvPr>
          <p:cNvSpPr>
            <a:spLocks noGrp="1"/>
          </p:cNvSpPr>
          <p:nvPr>
            <p:ph type="sldNum" sz="quarter" idx="4"/>
          </p:nvPr>
        </p:nvSpPr>
        <p:spPr>
          <a:xfrm>
            <a:off x="222695" y="6577383"/>
            <a:ext cx="294928" cy="196131"/>
          </a:xfrm>
        </p:spPr>
        <p:txBody>
          <a:bodyPr/>
          <a:lstStyle/>
          <a:p>
            <a:pPr defTabSz="1218810"/>
            <a:fld id="{E9B57936-92EF-4126-AE48-1D9D36D15E98}" type="slidenum">
              <a:rPr lang="ja-JP" altLang="en-US" smtClean="0"/>
              <a:pPr defTabSz="1218810"/>
              <a:t>28</a:t>
            </a:fld>
            <a:endParaRPr lang="ja-JP" altLang="en-US"/>
          </a:p>
        </p:txBody>
      </p:sp>
      <p:pic>
        <p:nvPicPr>
          <p:cNvPr id="2" name="Picture 1" descr="A graph with blue and white text&#10;&#10;Description automatically generated">
            <a:extLst>
              <a:ext uri="{FF2B5EF4-FFF2-40B4-BE49-F238E27FC236}">
                <a16:creationId xmlns:a16="http://schemas.microsoft.com/office/drawing/2014/main" id="{617A9771-E3BD-C104-867E-3FC6EA05C300}"/>
              </a:ext>
            </a:extLst>
          </p:cNvPr>
          <p:cNvPicPr>
            <a:picLocks noChangeAspect="1"/>
          </p:cNvPicPr>
          <p:nvPr/>
        </p:nvPicPr>
        <p:blipFill>
          <a:blip r:embed="rId2"/>
          <a:stretch>
            <a:fillRect/>
          </a:stretch>
        </p:blipFill>
        <p:spPr>
          <a:xfrm>
            <a:off x="-1373" y="2215892"/>
            <a:ext cx="4039287" cy="2680215"/>
          </a:xfrm>
          <a:prstGeom prst="rect">
            <a:avLst/>
          </a:prstGeom>
        </p:spPr>
      </p:pic>
      <p:pic>
        <p:nvPicPr>
          <p:cNvPr id="6" name="Picture 5" descr="A graph with blue and white bars&#10;&#10;Description automatically generated">
            <a:extLst>
              <a:ext uri="{FF2B5EF4-FFF2-40B4-BE49-F238E27FC236}">
                <a16:creationId xmlns:a16="http://schemas.microsoft.com/office/drawing/2014/main" id="{31D55A25-DB4A-CA74-45CC-3944D229E4C0}"/>
              </a:ext>
            </a:extLst>
          </p:cNvPr>
          <p:cNvPicPr>
            <a:picLocks noChangeAspect="1"/>
          </p:cNvPicPr>
          <p:nvPr/>
        </p:nvPicPr>
        <p:blipFill>
          <a:blip r:embed="rId3"/>
          <a:stretch>
            <a:fillRect/>
          </a:stretch>
        </p:blipFill>
        <p:spPr>
          <a:xfrm>
            <a:off x="4033496" y="2215890"/>
            <a:ext cx="4131876" cy="2680216"/>
          </a:xfrm>
          <a:prstGeom prst="rect">
            <a:avLst/>
          </a:prstGeom>
        </p:spPr>
      </p:pic>
      <p:pic>
        <p:nvPicPr>
          <p:cNvPr id="7" name="Picture 6">
            <a:extLst>
              <a:ext uri="{FF2B5EF4-FFF2-40B4-BE49-F238E27FC236}">
                <a16:creationId xmlns:a16="http://schemas.microsoft.com/office/drawing/2014/main" id="{C7A594DA-7A7A-86CC-8711-4EC5DEFC306A}"/>
              </a:ext>
            </a:extLst>
          </p:cNvPr>
          <p:cNvPicPr>
            <a:picLocks noChangeAspect="1"/>
          </p:cNvPicPr>
          <p:nvPr/>
        </p:nvPicPr>
        <p:blipFill>
          <a:blip r:embed="rId4"/>
          <a:stretch>
            <a:fillRect/>
          </a:stretch>
        </p:blipFill>
        <p:spPr>
          <a:xfrm>
            <a:off x="8217630" y="2215892"/>
            <a:ext cx="3651337" cy="2604702"/>
          </a:xfrm>
          <a:prstGeom prst="rect">
            <a:avLst/>
          </a:prstGeom>
        </p:spPr>
      </p:pic>
      <p:sp>
        <p:nvSpPr>
          <p:cNvPr id="8" name="Arrow: Right 7">
            <a:extLst>
              <a:ext uri="{FF2B5EF4-FFF2-40B4-BE49-F238E27FC236}">
                <a16:creationId xmlns:a16="http://schemas.microsoft.com/office/drawing/2014/main" id="{1CC5E9FF-2579-1BD9-8533-4D2974F3B6E6}"/>
              </a:ext>
            </a:extLst>
          </p:cNvPr>
          <p:cNvSpPr/>
          <p:nvPr/>
        </p:nvSpPr>
        <p:spPr>
          <a:xfrm>
            <a:off x="4040337" y="262827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 name="Arrow: Right 8">
            <a:extLst>
              <a:ext uri="{FF2B5EF4-FFF2-40B4-BE49-F238E27FC236}">
                <a16:creationId xmlns:a16="http://schemas.microsoft.com/office/drawing/2014/main" id="{6148D4B8-2F83-6C4D-80DC-E8B1671C6407}"/>
              </a:ext>
            </a:extLst>
          </p:cNvPr>
          <p:cNvSpPr/>
          <p:nvPr/>
        </p:nvSpPr>
        <p:spPr>
          <a:xfrm>
            <a:off x="3835429" y="2416963"/>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Arrow: Right 9">
            <a:extLst>
              <a:ext uri="{FF2B5EF4-FFF2-40B4-BE49-F238E27FC236}">
                <a16:creationId xmlns:a16="http://schemas.microsoft.com/office/drawing/2014/main" id="{4F241717-A859-2731-830D-F62EDA21FDE6}"/>
              </a:ext>
            </a:extLst>
          </p:cNvPr>
          <p:cNvSpPr/>
          <p:nvPr/>
        </p:nvSpPr>
        <p:spPr>
          <a:xfrm>
            <a:off x="4040336" y="299326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Arrow: Right 10">
            <a:extLst>
              <a:ext uri="{FF2B5EF4-FFF2-40B4-BE49-F238E27FC236}">
                <a16:creationId xmlns:a16="http://schemas.microsoft.com/office/drawing/2014/main" id="{70A3246F-E81D-D73F-FDC3-F765957762AF}"/>
              </a:ext>
            </a:extLst>
          </p:cNvPr>
          <p:cNvSpPr/>
          <p:nvPr/>
        </p:nvSpPr>
        <p:spPr>
          <a:xfrm>
            <a:off x="3963495" y="3992188"/>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Arrow: Right 11">
            <a:extLst>
              <a:ext uri="{FF2B5EF4-FFF2-40B4-BE49-F238E27FC236}">
                <a16:creationId xmlns:a16="http://schemas.microsoft.com/office/drawing/2014/main" id="{53447D89-01BC-2562-04E6-71AE6E940820}"/>
              </a:ext>
            </a:extLst>
          </p:cNvPr>
          <p:cNvSpPr/>
          <p:nvPr/>
        </p:nvSpPr>
        <p:spPr>
          <a:xfrm>
            <a:off x="7600603" y="2628271"/>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Arrow: Right 12">
            <a:extLst>
              <a:ext uri="{FF2B5EF4-FFF2-40B4-BE49-F238E27FC236}">
                <a16:creationId xmlns:a16="http://schemas.microsoft.com/office/drawing/2014/main" id="{9E98D78F-8461-8FC4-9D14-87A7E63ED70B}"/>
              </a:ext>
            </a:extLst>
          </p:cNvPr>
          <p:cNvSpPr/>
          <p:nvPr/>
        </p:nvSpPr>
        <p:spPr>
          <a:xfrm>
            <a:off x="7856736" y="2416959"/>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Arrow: Right 13">
            <a:extLst>
              <a:ext uri="{FF2B5EF4-FFF2-40B4-BE49-F238E27FC236}">
                <a16:creationId xmlns:a16="http://schemas.microsoft.com/office/drawing/2014/main" id="{64806D49-A082-3089-2DE5-94D61E090C42}"/>
              </a:ext>
            </a:extLst>
          </p:cNvPr>
          <p:cNvSpPr/>
          <p:nvPr/>
        </p:nvSpPr>
        <p:spPr>
          <a:xfrm>
            <a:off x="8055239" y="3787277"/>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5" name="Arrow: Right 14">
            <a:extLst>
              <a:ext uri="{FF2B5EF4-FFF2-40B4-BE49-F238E27FC236}">
                <a16:creationId xmlns:a16="http://schemas.microsoft.com/office/drawing/2014/main" id="{5A7260AA-0882-4A01-09A7-AF3DE627638B}"/>
              </a:ext>
            </a:extLst>
          </p:cNvPr>
          <p:cNvSpPr/>
          <p:nvPr/>
        </p:nvSpPr>
        <p:spPr>
          <a:xfrm>
            <a:off x="8093658" y="4145864"/>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71105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87E0D0-18AC-22E2-B810-E811CD8C962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551795-7791-10C7-9B41-75BFD6743DF8}"/>
              </a:ext>
            </a:extLst>
          </p:cNvPr>
          <p:cNvSpPr>
            <a:spLocks noGrp="1"/>
          </p:cNvSpPr>
          <p:nvPr>
            <p:ph type="title"/>
          </p:nvPr>
        </p:nvSpPr>
        <p:spPr>
          <a:xfrm>
            <a:off x="606078" y="161605"/>
            <a:ext cx="11417600" cy="685801"/>
          </a:xfrm>
        </p:spPr>
        <p:txBody>
          <a:bodyPr>
            <a:normAutofit fontScale="90000"/>
          </a:bodyPr>
          <a:lstStyle/>
          <a:p>
            <a:r>
              <a:rPr lang="en-US" dirty="0">
                <a:latin typeface="Calibri"/>
                <a:ea typeface="メイリオ"/>
                <a:cs typeface="Calibri"/>
              </a:rPr>
              <a:t>Fresh AML tumors activated pathways associated with IFNA, JAK-STAT and TNFA</a:t>
            </a:r>
            <a:endParaRPr lang="en-US" dirty="0"/>
          </a:p>
        </p:txBody>
      </p:sp>
      <p:sp>
        <p:nvSpPr>
          <p:cNvPr id="5" name="Slide Number Placeholder 4">
            <a:extLst>
              <a:ext uri="{FF2B5EF4-FFF2-40B4-BE49-F238E27FC236}">
                <a16:creationId xmlns:a16="http://schemas.microsoft.com/office/drawing/2014/main" id="{5CD8D9C8-2381-16F7-F9A4-BB6D5C77D83A}"/>
              </a:ext>
            </a:extLst>
          </p:cNvPr>
          <p:cNvSpPr>
            <a:spLocks noGrp="1"/>
          </p:cNvSpPr>
          <p:nvPr>
            <p:ph type="sldNum" sz="quarter" idx="4"/>
          </p:nvPr>
        </p:nvSpPr>
        <p:spPr/>
        <p:txBody>
          <a:bodyPr/>
          <a:lstStyle/>
          <a:p>
            <a:pPr defTabSz="1218810"/>
            <a:fld id="{E9B57936-92EF-4126-AE48-1D9D36D15E98}" type="slidenum">
              <a:rPr lang="ja-JP" altLang="en-US" smtClean="0"/>
              <a:pPr defTabSz="1218810"/>
              <a:t>29</a:t>
            </a:fld>
            <a:endParaRPr lang="ja-JP" altLang="en-US"/>
          </a:p>
        </p:txBody>
      </p:sp>
      <p:sp>
        <p:nvSpPr>
          <p:cNvPr id="6" name="Text Placeholder 5">
            <a:extLst>
              <a:ext uri="{FF2B5EF4-FFF2-40B4-BE49-F238E27FC236}">
                <a16:creationId xmlns:a16="http://schemas.microsoft.com/office/drawing/2014/main" id="{62883052-E3B6-956D-4628-F9ADCEB5569C}"/>
              </a:ext>
            </a:extLst>
          </p:cNvPr>
          <p:cNvSpPr>
            <a:spLocks noGrp="1"/>
          </p:cNvSpPr>
          <p:nvPr>
            <p:ph type="body" sz="quarter" idx="16"/>
          </p:nvPr>
        </p:nvSpPr>
        <p:spPr/>
        <p:txBody>
          <a:bodyPr/>
          <a:lstStyle/>
          <a:p>
            <a:endParaRPr lang="en-US"/>
          </a:p>
        </p:txBody>
      </p:sp>
      <p:sp>
        <p:nvSpPr>
          <p:cNvPr id="10" name="Rectangle: Rounded Corners 9">
            <a:extLst>
              <a:ext uri="{FF2B5EF4-FFF2-40B4-BE49-F238E27FC236}">
                <a16:creationId xmlns:a16="http://schemas.microsoft.com/office/drawing/2014/main" id="{5CB99734-CDF1-78DC-1169-6EB699D0F2A1}"/>
              </a:ext>
            </a:extLst>
          </p:cNvPr>
          <p:cNvSpPr/>
          <p:nvPr/>
        </p:nvSpPr>
        <p:spPr>
          <a:xfrm>
            <a:off x="1469985" y="1837479"/>
            <a:ext cx="844952"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ectangle: Rounded Corners 10">
            <a:extLst>
              <a:ext uri="{FF2B5EF4-FFF2-40B4-BE49-F238E27FC236}">
                <a16:creationId xmlns:a16="http://schemas.microsoft.com/office/drawing/2014/main" id="{5326A14A-16B5-C8D3-BF78-AAFB3511AA48}"/>
              </a:ext>
            </a:extLst>
          </p:cNvPr>
          <p:cNvSpPr/>
          <p:nvPr/>
        </p:nvSpPr>
        <p:spPr>
          <a:xfrm>
            <a:off x="2664106" y="1844982"/>
            <a:ext cx="333737"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Rectangle: Rounded Corners 11">
            <a:extLst>
              <a:ext uri="{FF2B5EF4-FFF2-40B4-BE49-F238E27FC236}">
                <a16:creationId xmlns:a16="http://schemas.microsoft.com/office/drawing/2014/main" id="{A3AF1964-2E3F-C7DC-FD72-1A53433727C8}"/>
              </a:ext>
            </a:extLst>
          </p:cNvPr>
          <p:cNvSpPr/>
          <p:nvPr/>
        </p:nvSpPr>
        <p:spPr>
          <a:xfrm>
            <a:off x="4425387" y="1846908"/>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Rectangle: Rounded Corners 12">
            <a:extLst>
              <a:ext uri="{FF2B5EF4-FFF2-40B4-BE49-F238E27FC236}">
                <a16:creationId xmlns:a16="http://schemas.microsoft.com/office/drawing/2014/main" id="{E49EB873-D6A5-2469-B0C9-47D8C4FC181E}"/>
              </a:ext>
            </a:extLst>
          </p:cNvPr>
          <p:cNvSpPr/>
          <p:nvPr/>
        </p:nvSpPr>
        <p:spPr>
          <a:xfrm>
            <a:off x="5885726" y="1860408"/>
            <a:ext cx="1880324"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Rectangle: Rounded Corners 13">
            <a:extLst>
              <a:ext uri="{FF2B5EF4-FFF2-40B4-BE49-F238E27FC236}">
                <a16:creationId xmlns:a16="http://schemas.microsoft.com/office/drawing/2014/main" id="{D2C73761-50FE-D1E7-64DD-EBB61D0F6986}"/>
              </a:ext>
            </a:extLst>
          </p:cNvPr>
          <p:cNvSpPr/>
          <p:nvPr/>
        </p:nvSpPr>
        <p:spPr>
          <a:xfrm>
            <a:off x="8549832" y="1850763"/>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6" name="Rectangle: Rounded Corners 15">
            <a:extLst>
              <a:ext uri="{FF2B5EF4-FFF2-40B4-BE49-F238E27FC236}">
                <a16:creationId xmlns:a16="http://schemas.microsoft.com/office/drawing/2014/main" id="{118FB801-5A9E-0302-1C59-F1BBB9FB1B16}"/>
              </a:ext>
            </a:extLst>
          </p:cNvPr>
          <p:cNvSpPr/>
          <p:nvPr/>
        </p:nvSpPr>
        <p:spPr>
          <a:xfrm>
            <a:off x="8727311" y="4755859"/>
            <a:ext cx="31830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2" name="Picture 1" descr="A diagram of a number of red dots&#10;&#10;Description automatically generated">
            <a:extLst>
              <a:ext uri="{FF2B5EF4-FFF2-40B4-BE49-F238E27FC236}">
                <a16:creationId xmlns:a16="http://schemas.microsoft.com/office/drawing/2014/main" id="{2B6A3626-F185-D6E4-FEC6-9CEB5EB73E2A}"/>
              </a:ext>
            </a:extLst>
          </p:cNvPr>
          <p:cNvPicPr>
            <a:picLocks noChangeAspect="1"/>
          </p:cNvPicPr>
          <p:nvPr/>
        </p:nvPicPr>
        <p:blipFill>
          <a:blip r:embed="rId2"/>
          <a:stretch>
            <a:fillRect/>
          </a:stretch>
        </p:blipFill>
        <p:spPr>
          <a:xfrm>
            <a:off x="0" y="916253"/>
            <a:ext cx="12192000" cy="2797124"/>
          </a:xfrm>
          <a:prstGeom prst="rect">
            <a:avLst/>
          </a:prstGeom>
        </p:spPr>
      </p:pic>
      <p:sp>
        <p:nvSpPr>
          <p:cNvPr id="15" name="Rectangle: Rounded Corners 14">
            <a:extLst>
              <a:ext uri="{FF2B5EF4-FFF2-40B4-BE49-F238E27FC236}">
                <a16:creationId xmlns:a16="http://schemas.microsoft.com/office/drawing/2014/main" id="{8EC5E304-D3C9-047D-3D90-0601A74EFE6D}"/>
              </a:ext>
            </a:extLst>
          </p:cNvPr>
          <p:cNvSpPr/>
          <p:nvPr/>
        </p:nvSpPr>
        <p:spPr>
          <a:xfrm>
            <a:off x="1580949" y="2053640"/>
            <a:ext cx="302677" cy="731210"/>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7" name="Rectangle: Rounded Corners 6">
            <a:extLst>
              <a:ext uri="{FF2B5EF4-FFF2-40B4-BE49-F238E27FC236}">
                <a16:creationId xmlns:a16="http://schemas.microsoft.com/office/drawing/2014/main" id="{AB452AB7-F26D-BCDF-E041-2FC8660003B1}"/>
              </a:ext>
            </a:extLst>
          </p:cNvPr>
          <p:cNvSpPr/>
          <p:nvPr/>
        </p:nvSpPr>
        <p:spPr>
          <a:xfrm>
            <a:off x="2106024" y="2053639"/>
            <a:ext cx="302677" cy="731210"/>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7" name="Rectangle: Rounded Corners 16">
            <a:extLst>
              <a:ext uri="{FF2B5EF4-FFF2-40B4-BE49-F238E27FC236}">
                <a16:creationId xmlns:a16="http://schemas.microsoft.com/office/drawing/2014/main" id="{1219E4A3-6723-0EC1-EDA3-420EDA67DE2E}"/>
              </a:ext>
            </a:extLst>
          </p:cNvPr>
          <p:cNvSpPr/>
          <p:nvPr/>
        </p:nvSpPr>
        <p:spPr>
          <a:xfrm>
            <a:off x="3117754" y="2015219"/>
            <a:ext cx="296275" cy="750419"/>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8" name="Rectangle: Rounded Corners 17">
            <a:extLst>
              <a:ext uri="{FF2B5EF4-FFF2-40B4-BE49-F238E27FC236}">
                <a16:creationId xmlns:a16="http://schemas.microsoft.com/office/drawing/2014/main" id="{F27FE657-716B-3815-4D44-AD2C10AE062D}"/>
              </a:ext>
            </a:extLst>
          </p:cNvPr>
          <p:cNvSpPr/>
          <p:nvPr/>
        </p:nvSpPr>
        <p:spPr>
          <a:xfrm>
            <a:off x="4167904" y="2015218"/>
            <a:ext cx="584426"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Rectangle: Rounded Corners 18">
            <a:extLst>
              <a:ext uri="{FF2B5EF4-FFF2-40B4-BE49-F238E27FC236}">
                <a16:creationId xmlns:a16="http://schemas.microsoft.com/office/drawing/2014/main" id="{949EC80A-B251-D297-B824-1849BF299B91}"/>
              </a:ext>
            </a:extLst>
          </p:cNvPr>
          <p:cNvSpPr/>
          <p:nvPr/>
        </p:nvSpPr>
        <p:spPr>
          <a:xfrm>
            <a:off x="5992861" y="2021621"/>
            <a:ext cx="1231165"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0" name="Rectangle: Rounded Corners 19">
            <a:extLst>
              <a:ext uri="{FF2B5EF4-FFF2-40B4-BE49-F238E27FC236}">
                <a16:creationId xmlns:a16="http://schemas.microsoft.com/office/drawing/2014/main" id="{6D310C23-F9C6-306A-0D20-41E064F27FE5}"/>
              </a:ext>
            </a:extLst>
          </p:cNvPr>
          <p:cNvSpPr/>
          <p:nvPr/>
        </p:nvSpPr>
        <p:spPr>
          <a:xfrm>
            <a:off x="9565936" y="2028023"/>
            <a:ext cx="296275"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8" name="Picture 7">
            <a:extLst>
              <a:ext uri="{FF2B5EF4-FFF2-40B4-BE49-F238E27FC236}">
                <a16:creationId xmlns:a16="http://schemas.microsoft.com/office/drawing/2014/main" id="{640763F4-5740-59DB-7269-5B3B2ECFEC10}"/>
              </a:ext>
            </a:extLst>
          </p:cNvPr>
          <p:cNvPicPr>
            <a:picLocks noChangeAspect="1"/>
          </p:cNvPicPr>
          <p:nvPr/>
        </p:nvPicPr>
        <p:blipFill>
          <a:blip r:embed="rId3"/>
          <a:stretch>
            <a:fillRect/>
          </a:stretch>
        </p:blipFill>
        <p:spPr>
          <a:xfrm>
            <a:off x="0" y="3649390"/>
            <a:ext cx="11314740" cy="2940195"/>
          </a:xfrm>
          <a:prstGeom prst="rect">
            <a:avLst/>
          </a:prstGeom>
        </p:spPr>
      </p:pic>
      <p:sp>
        <p:nvSpPr>
          <p:cNvPr id="9" name="Rectangle: Rounded Corners 8">
            <a:extLst>
              <a:ext uri="{FF2B5EF4-FFF2-40B4-BE49-F238E27FC236}">
                <a16:creationId xmlns:a16="http://schemas.microsoft.com/office/drawing/2014/main" id="{A9506B63-97AC-C922-E883-4036F099A874}"/>
              </a:ext>
            </a:extLst>
          </p:cNvPr>
          <p:cNvSpPr/>
          <p:nvPr/>
        </p:nvSpPr>
        <p:spPr>
          <a:xfrm>
            <a:off x="1644978" y="4845502"/>
            <a:ext cx="3933383"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75623538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04A187-8A77-74AB-C254-EB40CC602C3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A68D9EE-4E47-D027-C680-F06F1739DCA3}"/>
              </a:ext>
            </a:extLst>
          </p:cNvPr>
          <p:cNvSpPr>
            <a:spLocks noGrp="1"/>
          </p:cNvSpPr>
          <p:nvPr>
            <p:ph type="title"/>
          </p:nvPr>
        </p:nvSpPr>
        <p:spPr>
          <a:xfrm>
            <a:off x="606078" y="161605"/>
            <a:ext cx="11019865" cy="589509"/>
          </a:xfrm>
        </p:spPr>
        <p:txBody>
          <a:bodyPr>
            <a:normAutofit fontScale="90000"/>
          </a:bodyPr>
          <a:lstStyle/>
          <a:p>
            <a:r>
              <a:rPr lang="en-US" dirty="0"/>
              <a:t>2 libraries showed species impurity: indicating contamination of mouse cells</a:t>
            </a:r>
          </a:p>
        </p:txBody>
      </p:sp>
      <p:sp>
        <p:nvSpPr>
          <p:cNvPr id="5" name="Slide Number Placeholder 4">
            <a:extLst>
              <a:ext uri="{FF2B5EF4-FFF2-40B4-BE49-F238E27FC236}">
                <a16:creationId xmlns:a16="http://schemas.microsoft.com/office/drawing/2014/main" id="{649914B6-B118-338B-64AE-155B0B827570}"/>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C157087-D05D-A841-487A-E39B4DD6E8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65273DF-6A7C-743A-E142-6AB770FC0650}"/>
              </a:ext>
            </a:extLst>
          </p:cNvPr>
          <p:cNvPicPr>
            <a:picLocks noChangeAspect="1"/>
          </p:cNvPicPr>
          <p:nvPr/>
        </p:nvPicPr>
        <p:blipFill>
          <a:blip r:embed="rId2"/>
          <a:stretch>
            <a:fillRect/>
          </a:stretch>
        </p:blipFill>
        <p:spPr>
          <a:xfrm>
            <a:off x="1500187" y="1004887"/>
            <a:ext cx="9191625" cy="4848225"/>
          </a:xfrm>
          <a:prstGeom prst="rect">
            <a:avLst/>
          </a:prstGeom>
        </p:spPr>
      </p:pic>
    </p:spTree>
    <p:extLst>
      <p:ext uri="{BB962C8B-B14F-4D97-AF65-F5344CB8AC3E}">
        <p14:creationId xmlns:p14="http://schemas.microsoft.com/office/powerpoint/2010/main" val="36757395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138FBE4-C17D-AA4A-ED44-2E426F60076C}"/>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AA7B0BB9-6F2F-2EC0-3D88-F5073A26C2CD}"/>
              </a:ext>
            </a:extLst>
          </p:cNvPr>
          <p:cNvSpPr>
            <a:spLocks noGrp="1"/>
          </p:cNvSpPr>
          <p:nvPr>
            <p:ph type="title"/>
          </p:nvPr>
        </p:nvSpPr>
        <p:spPr>
          <a:xfrm>
            <a:off x="606078" y="161605"/>
            <a:ext cx="11274772" cy="685801"/>
          </a:xfrm>
        </p:spPr>
        <p:txBody>
          <a:bodyPr>
            <a:normAutofit fontScale="90000"/>
          </a:bodyPr>
          <a:lstStyle/>
          <a:p>
            <a:r>
              <a:rPr lang="en-US" dirty="0">
                <a:latin typeface="Calibri"/>
                <a:ea typeface="Calibri"/>
                <a:cs typeface="Calibri"/>
              </a:rPr>
              <a:t>Bone marrow and blood AML tumors activated pathways in OXPHOS, Glycolysis, </a:t>
            </a:r>
            <a:r>
              <a:rPr lang="en-US" dirty="0" err="1">
                <a:latin typeface="Calibri"/>
                <a:ea typeface="Calibri"/>
                <a:cs typeface="Calibri"/>
              </a:rPr>
              <a:t>Myc</a:t>
            </a:r>
            <a:r>
              <a:rPr lang="en-US" dirty="0">
                <a:latin typeface="Calibri"/>
                <a:ea typeface="Calibri"/>
                <a:cs typeface="Calibri"/>
              </a:rPr>
              <a:t> and </a:t>
            </a:r>
            <a:r>
              <a:rPr lang="en-US" dirty="0" err="1">
                <a:latin typeface="Calibri"/>
                <a:ea typeface="Calibri"/>
                <a:cs typeface="Calibri"/>
              </a:rPr>
              <a:t>matabolism</a:t>
            </a:r>
            <a:endParaRPr lang="en-US" b="0" dirty="0">
              <a:solidFill>
                <a:srgbClr val="000000"/>
              </a:solidFill>
              <a:latin typeface="Calibri"/>
              <a:ea typeface="Calibri"/>
              <a:cs typeface="Calibri"/>
            </a:endParaRPr>
          </a:p>
        </p:txBody>
      </p:sp>
      <p:sp>
        <p:nvSpPr>
          <p:cNvPr id="5" name="Slide Number Placeholder 4">
            <a:extLst>
              <a:ext uri="{FF2B5EF4-FFF2-40B4-BE49-F238E27FC236}">
                <a16:creationId xmlns:a16="http://schemas.microsoft.com/office/drawing/2014/main" id="{982F2564-D789-D923-F591-E0BB7E7A504A}"/>
              </a:ext>
            </a:extLst>
          </p:cNvPr>
          <p:cNvSpPr>
            <a:spLocks noGrp="1"/>
          </p:cNvSpPr>
          <p:nvPr>
            <p:ph type="sldNum" sz="quarter" idx="4"/>
          </p:nvPr>
        </p:nvSpPr>
        <p:spPr/>
        <p:txBody>
          <a:bodyPr/>
          <a:lstStyle/>
          <a:p>
            <a:pPr defTabSz="1218810"/>
            <a:fld id="{E9B57936-92EF-4126-AE48-1D9D36D15E98}" type="slidenum">
              <a:rPr lang="ja-JP" altLang="en-US" smtClean="0"/>
              <a:pPr defTabSz="1218810"/>
              <a:t>30</a:t>
            </a:fld>
            <a:endParaRPr lang="ja-JP" altLang="en-US"/>
          </a:p>
        </p:txBody>
      </p:sp>
      <p:sp>
        <p:nvSpPr>
          <p:cNvPr id="6" name="Text Placeholder 5">
            <a:extLst>
              <a:ext uri="{FF2B5EF4-FFF2-40B4-BE49-F238E27FC236}">
                <a16:creationId xmlns:a16="http://schemas.microsoft.com/office/drawing/2014/main" id="{D11F2BC8-8900-E832-DB3C-C27205C6D321}"/>
              </a:ext>
            </a:extLst>
          </p:cNvPr>
          <p:cNvSpPr>
            <a:spLocks noGrp="1"/>
          </p:cNvSpPr>
          <p:nvPr>
            <p:ph type="body" sz="quarter" idx="16"/>
          </p:nvPr>
        </p:nvSpPr>
        <p:spPr/>
        <p:txBody>
          <a:bodyPr/>
          <a:lstStyle/>
          <a:p>
            <a:endParaRPr lang="en-US"/>
          </a:p>
        </p:txBody>
      </p:sp>
      <p:pic>
        <p:nvPicPr>
          <p:cNvPr id="9" name="Picture 8" descr="A chart of red and white dots&#10;&#10;Description automatically generated">
            <a:extLst>
              <a:ext uri="{FF2B5EF4-FFF2-40B4-BE49-F238E27FC236}">
                <a16:creationId xmlns:a16="http://schemas.microsoft.com/office/drawing/2014/main" id="{ACB7DE16-DDED-8E8A-3A9E-BD6E0C027700}"/>
              </a:ext>
            </a:extLst>
          </p:cNvPr>
          <p:cNvPicPr>
            <a:picLocks noChangeAspect="1"/>
          </p:cNvPicPr>
          <p:nvPr/>
        </p:nvPicPr>
        <p:blipFill>
          <a:blip r:embed="rId2"/>
          <a:stretch>
            <a:fillRect/>
          </a:stretch>
        </p:blipFill>
        <p:spPr>
          <a:xfrm>
            <a:off x="0" y="849610"/>
            <a:ext cx="12192000" cy="1944293"/>
          </a:xfrm>
          <a:prstGeom prst="rect">
            <a:avLst/>
          </a:prstGeom>
        </p:spPr>
      </p:pic>
      <p:pic>
        <p:nvPicPr>
          <p:cNvPr id="10" name="Picture 9" descr="A chart of glycolysis&#10;&#10;Description automatically generated">
            <a:extLst>
              <a:ext uri="{FF2B5EF4-FFF2-40B4-BE49-F238E27FC236}">
                <a16:creationId xmlns:a16="http://schemas.microsoft.com/office/drawing/2014/main" id="{D576A7D1-272A-782D-D219-EC58EF970EB3}"/>
              </a:ext>
            </a:extLst>
          </p:cNvPr>
          <p:cNvPicPr>
            <a:picLocks noChangeAspect="1"/>
          </p:cNvPicPr>
          <p:nvPr/>
        </p:nvPicPr>
        <p:blipFill>
          <a:blip r:embed="rId3"/>
          <a:stretch>
            <a:fillRect/>
          </a:stretch>
        </p:blipFill>
        <p:spPr>
          <a:xfrm>
            <a:off x="0" y="2753585"/>
            <a:ext cx="12192000" cy="1863100"/>
          </a:xfrm>
          <a:prstGeom prst="rect">
            <a:avLst/>
          </a:prstGeom>
        </p:spPr>
      </p:pic>
      <p:pic>
        <p:nvPicPr>
          <p:cNvPr id="11" name="Picture 10" descr="A diagram of a test&#10;&#10;Description automatically generated">
            <a:extLst>
              <a:ext uri="{FF2B5EF4-FFF2-40B4-BE49-F238E27FC236}">
                <a16:creationId xmlns:a16="http://schemas.microsoft.com/office/drawing/2014/main" id="{5CC600A6-CEC6-DEEF-E9D2-CDE287D69026}"/>
              </a:ext>
            </a:extLst>
          </p:cNvPr>
          <p:cNvPicPr>
            <a:picLocks noChangeAspect="1"/>
          </p:cNvPicPr>
          <p:nvPr/>
        </p:nvPicPr>
        <p:blipFill>
          <a:blip r:embed="rId4"/>
          <a:stretch>
            <a:fillRect/>
          </a:stretch>
        </p:blipFill>
        <p:spPr>
          <a:xfrm>
            <a:off x="0" y="4619268"/>
            <a:ext cx="12192000" cy="1640773"/>
          </a:xfrm>
          <a:prstGeom prst="rect">
            <a:avLst/>
          </a:prstGeom>
        </p:spPr>
      </p:pic>
    </p:spTree>
    <p:extLst>
      <p:ext uri="{BB962C8B-B14F-4D97-AF65-F5344CB8AC3E}">
        <p14:creationId xmlns:p14="http://schemas.microsoft.com/office/powerpoint/2010/main" val="115702695"/>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EF06F5-65A3-BE97-DB58-2BAB5636DAB2}"/>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047FA8D-F165-B253-7788-DDB582AFA022}"/>
              </a:ext>
            </a:extLst>
          </p:cNvPr>
          <p:cNvSpPr>
            <a:spLocks noGrp="1"/>
          </p:cNvSpPr>
          <p:nvPr>
            <p:ph type="title"/>
          </p:nvPr>
        </p:nvSpPr>
        <p:spPr>
          <a:xfrm>
            <a:off x="606078" y="161605"/>
            <a:ext cx="11274772" cy="685801"/>
          </a:xfrm>
        </p:spPr>
        <p:txBody>
          <a:bodyPr>
            <a:normAutofit/>
          </a:bodyPr>
          <a:lstStyle/>
          <a:p>
            <a:r>
              <a:rPr lang="en-US" dirty="0"/>
              <a:t>Differential expression profiles between NK samples and AML samples</a:t>
            </a:r>
          </a:p>
        </p:txBody>
      </p:sp>
      <p:sp>
        <p:nvSpPr>
          <p:cNvPr id="5" name="Slide Number Placeholder 4">
            <a:extLst>
              <a:ext uri="{FF2B5EF4-FFF2-40B4-BE49-F238E27FC236}">
                <a16:creationId xmlns:a16="http://schemas.microsoft.com/office/drawing/2014/main" id="{0E8913D2-F810-5E13-255C-63E6B390C000}"/>
              </a:ext>
            </a:extLst>
          </p:cNvPr>
          <p:cNvSpPr>
            <a:spLocks noGrp="1"/>
          </p:cNvSpPr>
          <p:nvPr>
            <p:ph type="sldNum" sz="quarter" idx="4"/>
          </p:nvPr>
        </p:nvSpPr>
        <p:spPr/>
        <p:txBody>
          <a:bodyPr/>
          <a:lstStyle/>
          <a:p>
            <a:pPr defTabSz="1218810"/>
            <a:fld id="{E9B57936-92EF-4126-AE48-1D9D36D15E98}" type="slidenum">
              <a:rPr lang="ja-JP" altLang="en-US" smtClean="0"/>
              <a:pPr defTabSz="1218810"/>
              <a:t>31</a:t>
            </a:fld>
            <a:endParaRPr lang="ja-JP" altLang="en-US"/>
          </a:p>
        </p:txBody>
      </p:sp>
      <p:sp>
        <p:nvSpPr>
          <p:cNvPr id="6" name="Text Placeholder 5">
            <a:extLst>
              <a:ext uri="{FF2B5EF4-FFF2-40B4-BE49-F238E27FC236}">
                <a16:creationId xmlns:a16="http://schemas.microsoft.com/office/drawing/2014/main" id="{FDA44B26-2BBE-249D-D788-D8258C9D737D}"/>
              </a:ext>
            </a:extLst>
          </p:cNvPr>
          <p:cNvSpPr>
            <a:spLocks noGrp="1"/>
          </p:cNvSpPr>
          <p:nvPr>
            <p:ph type="body" sz="quarter" idx="16"/>
          </p:nvPr>
        </p:nvSpPr>
        <p:spPr/>
        <p:txBody>
          <a:bodyPr/>
          <a:lstStyle/>
          <a:p>
            <a:endParaRPr lang="en-US"/>
          </a:p>
        </p:txBody>
      </p:sp>
      <p:pic>
        <p:nvPicPr>
          <p:cNvPr id="8" name="Picture 7" descr="A group of dots with text&#10;&#10;Description automatically generated">
            <a:extLst>
              <a:ext uri="{FF2B5EF4-FFF2-40B4-BE49-F238E27FC236}">
                <a16:creationId xmlns:a16="http://schemas.microsoft.com/office/drawing/2014/main" id="{D0CFE486-6CBF-9717-72D2-CCF85D3047E8}"/>
              </a:ext>
            </a:extLst>
          </p:cNvPr>
          <p:cNvPicPr>
            <a:picLocks noChangeAspect="1"/>
          </p:cNvPicPr>
          <p:nvPr/>
        </p:nvPicPr>
        <p:blipFill>
          <a:blip r:embed="rId2"/>
          <a:stretch>
            <a:fillRect/>
          </a:stretch>
        </p:blipFill>
        <p:spPr>
          <a:xfrm>
            <a:off x="311150" y="926414"/>
            <a:ext cx="3831825" cy="2542800"/>
          </a:xfrm>
          <a:prstGeom prst="rect">
            <a:avLst/>
          </a:prstGeom>
        </p:spPr>
      </p:pic>
      <p:pic>
        <p:nvPicPr>
          <p:cNvPr id="2" name="Picture 1">
            <a:extLst>
              <a:ext uri="{FF2B5EF4-FFF2-40B4-BE49-F238E27FC236}">
                <a16:creationId xmlns:a16="http://schemas.microsoft.com/office/drawing/2014/main" id="{4156B508-DA11-4E4F-2B73-7880E65BDE2D}"/>
              </a:ext>
            </a:extLst>
          </p:cNvPr>
          <p:cNvPicPr>
            <a:picLocks noChangeAspect="1"/>
          </p:cNvPicPr>
          <p:nvPr/>
        </p:nvPicPr>
        <p:blipFill>
          <a:blip r:embed="rId3"/>
          <a:stretch>
            <a:fillRect/>
          </a:stretch>
        </p:blipFill>
        <p:spPr>
          <a:xfrm>
            <a:off x="0" y="3548222"/>
            <a:ext cx="12192000" cy="2576185"/>
          </a:xfrm>
          <a:prstGeom prst="rect">
            <a:avLst/>
          </a:prstGeom>
        </p:spPr>
      </p:pic>
      <p:cxnSp>
        <p:nvCxnSpPr>
          <p:cNvPr id="11" name="Straight Connector 10">
            <a:extLst>
              <a:ext uri="{FF2B5EF4-FFF2-40B4-BE49-F238E27FC236}">
                <a16:creationId xmlns:a16="http://schemas.microsoft.com/office/drawing/2014/main" id="{5FD05CE2-966F-BED8-734B-CE8A46AB20BF}"/>
              </a:ext>
            </a:extLst>
          </p:cNvPr>
          <p:cNvCxnSpPr/>
          <p:nvPr/>
        </p:nvCxnSpPr>
        <p:spPr>
          <a:xfrm>
            <a:off x="805217" y="5865772"/>
            <a:ext cx="5390866"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5AACE6A-8718-3EE7-F684-E3547579F1AB}"/>
              </a:ext>
            </a:extLst>
          </p:cNvPr>
          <p:cNvCxnSpPr/>
          <p:nvPr/>
        </p:nvCxnSpPr>
        <p:spPr>
          <a:xfrm>
            <a:off x="6250675" y="5865772"/>
            <a:ext cx="5390866"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6369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188C95-E790-6C5D-E4D3-D1EF5F1BA6C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E37550B-45F9-010E-D851-B010FF00CFE4}"/>
              </a:ext>
            </a:extLst>
          </p:cNvPr>
          <p:cNvSpPr>
            <a:spLocks noGrp="1"/>
          </p:cNvSpPr>
          <p:nvPr>
            <p:ph type="title"/>
          </p:nvPr>
        </p:nvSpPr>
        <p:spPr>
          <a:xfrm>
            <a:off x="606078" y="161605"/>
            <a:ext cx="11585922" cy="685801"/>
          </a:xfrm>
        </p:spPr>
        <p:txBody>
          <a:bodyPr>
            <a:normAutofit fontScale="90000"/>
          </a:bodyPr>
          <a:lstStyle/>
          <a:p>
            <a:r>
              <a:rPr lang="en-US" dirty="0"/>
              <a:t>AML tumor samples showed higher metabolism activates than NK samples resulted in loss of metabolic fitness in NK cells that could be partly overcome</a:t>
            </a:r>
          </a:p>
        </p:txBody>
      </p:sp>
      <p:sp>
        <p:nvSpPr>
          <p:cNvPr id="5" name="Slide Number Placeholder 4">
            <a:extLst>
              <a:ext uri="{FF2B5EF4-FFF2-40B4-BE49-F238E27FC236}">
                <a16:creationId xmlns:a16="http://schemas.microsoft.com/office/drawing/2014/main" id="{246A442D-D3A8-3554-C242-DD8CFE40835B}"/>
              </a:ext>
            </a:extLst>
          </p:cNvPr>
          <p:cNvSpPr>
            <a:spLocks noGrp="1"/>
          </p:cNvSpPr>
          <p:nvPr>
            <p:ph type="sldNum" sz="quarter" idx="4"/>
          </p:nvPr>
        </p:nvSpPr>
        <p:spPr/>
        <p:txBody>
          <a:bodyPr/>
          <a:lstStyle/>
          <a:p>
            <a:pPr defTabSz="1218810"/>
            <a:fld id="{E9B57936-92EF-4126-AE48-1D9D36D15E98}" type="slidenum">
              <a:rPr lang="ja-JP" altLang="en-US" smtClean="0"/>
              <a:pPr defTabSz="1218810"/>
              <a:t>32</a:t>
            </a:fld>
            <a:endParaRPr lang="ja-JP" altLang="en-US"/>
          </a:p>
        </p:txBody>
      </p:sp>
      <p:sp>
        <p:nvSpPr>
          <p:cNvPr id="6" name="Text Placeholder 5">
            <a:extLst>
              <a:ext uri="{FF2B5EF4-FFF2-40B4-BE49-F238E27FC236}">
                <a16:creationId xmlns:a16="http://schemas.microsoft.com/office/drawing/2014/main" id="{48DECC3A-455A-5F37-7F14-A45745303E8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E1EEFE73-6D54-446D-4C6C-D95F21FCF0A3}"/>
              </a:ext>
            </a:extLst>
          </p:cNvPr>
          <p:cNvPicPr>
            <a:picLocks noChangeAspect="1"/>
          </p:cNvPicPr>
          <p:nvPr/>
        </p:nvPicPr>
        <p:blipFill>
          <a:blip r:embed="rId2"/>
          <a:stretch>
            <a:fillRect/>
          </a:stretch>
        </p:blipFill>
        <p:spPr>
          <a:xfrm>
            <a:off x="2429288" y="947957"/>
            <a:ext cx="6703263" cy="5771175"/>
          </a:xfrm>
          <a:prstGeom prst="rect">
            <a:avLst/>
          </a:prstGeom>
        </p:spPr>
      </p:pic>
      <p:sp>
        <p:nvSpPr>
          <p:cNvPr id="8" name="Rectangle: Rounded Corners 7">
            <a:extLst>
              <a:ext uri="{FF2B5EF4-FFF2-40B4-BE49-F238E27FC236}">
                <a16:creationId xmlns:a16="http://schemas.microsoft.com/office/drawing/2014/main" id="{7B7ECCF8-44DE-1FD5-22D0-C003F914D1FE}"/>
              </a:ext>
            </a:extLst>
          </p:cNvPr>
          <p:cNvSpPr/>
          <p:nvPr/>
        </p:nvSpPr>
        <p:spPr>
          <a:xfrm>
            <a:off x="6480927" y="947956"/>
            <a:ext cx="1939742" cy="1440401"/>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543200414"/>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715C48E-663D-0F7A-A20E-F22A15365E2D}"/>
              </a:ext>
            </a:extLst>
          </p:cNvPr>
          <p:cNvPicPr>
            <a:picLocks noChangeAspect="1"/>
          </p:cNvPicPr>
          <p:nvPr/>
        </p:nvPicPr>
        <p:blipFill>
          <a:blip r:embed="rId2"/>
          <a:stretch>
            <a:fillRect/>
          </a:stretch>
        </p:blipFill>
        <p:spPr>
          <a:xfrm>
            <a:off x="1564149" y="0"/>
            <a:ext cx="9063701" cy="6858000"/>
          </a:xfrm>
          <a:prstGeom prst="rect">
            <a:avLst/>
          </a:prstGeom>
        </p:spPr>
      </p:pic>
      <p:sp>
        <p:nvSpPr>
          <p:cNvPr id="3" name="Footer Placeholder 2">
            <a:extLst>
              <a:ext uri="{FF2B5EF4-FFF2-40B4-BE49-F238E27FC236}">
                <a16:creationId xmlns:a16="http://schemas.microsoft.com/office/drawing/2014/main" id="{66C2103D-2E8F-1064-E6CA-511D77F9F1B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108ACE7-7E24-76C5-34D6-5E4A8BF2D74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9F2861E1-88AB-B5ED-2489-7861E019303C}"/>
              </a:ext>
            </a:extLst>
          </p:cNvPr>
          <p:cNvSpPr>
            <a:spLocks noGrp="1"/>
          </p:cNvSpPr>
          <p:nvPr>
            <p:ph type="sldNum" sz="quarter" idx="4"/>
          </p:nvPr>
        </p:nvSpPr>
        <p:spPr/>
        <p:txBody>
          <a:bodyPr/>
          <a:lstStyle/>
          <a:p>
            <a:pPr defTabSz="1218810"/>
            <a:fld id="{E9B57936-92EF-4126-AE48-1D9D36D15E98}" type="slidenum">
              <a:rPr lang="ja-JP" altLang="en-US" smtClean="0"/>
              <a:pPr defTabSz="1218810"/>
              <a:t>33</a:t>
            </a:fld>
            <a:endParaRPr lang="ja-JP" altLang="en-US"/>
          </a:p>
        </p:txBody>
      </p:sp>
      <p:sp>
        <p:nvSpPr>
          <p:cNvPr id="6" name="Text Placeholder 5">
            <a:extLst>
              <a:ext uri="{FF2B5EF4-FFF2-40B4-BE49-F238E27FC236}">
                <a16:creationId xmlns:a16="http://schemas.microsoft.com/office/drawing/2014/main" id="{E8580C58-3CCF-F310-37CA-9F7A31C24970}"/>
              </a:ext>
            </a:extLst>
          </p:cNvPr>
          <p:cNvSpPr>
            <a:spLocks noGrp="1"/>
          </p:cNvSpPr>
          <p:nvPr>
            <p:ph type="body" sz="quarter" idx="16"/>
          </p:nvPr>
        </p:nvSpPr>
        <p:spPr/>
        <p:txBody>
          <a:bodyPr/>
          <a:lstStyle/>
          <a:p>
            <a:endParaRPr lang="en-US"/>
          </a:p>
        </p:txBody>
      </p:sp>
      <p:sp>
        <p:nvSpPr>
          <p:cNvPr id="8" name="Rectangle: Rounded Corners 7">
            <a:extLst>
              <a:ext uri="{FF2B5EF4-FFF2-40B4-BE49-F238E27FC236}">
                <a16:creationId xmlns:a16="http://schemas.microsoft.com/office/drawing/2014/main" id="{C8D992C8-7083-9DC6-3C9B-C06E323D9BB7}"/>
              </a:ext>
            </a:extLst>
          </p:cNvPr>
          <p:cNvSpPr/>
          <p:nvPr/>
        </p:nvSpPr>
        <p:spPr>
          <a:xfrm>
            <a:off x="1235242" y="2149640"/>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TextBox 10">
            <a:extLst>
              <a:ext uri="{FF2B5EF4-FFF2-40B4-BE49-F238E27FC236}">
                <a16:creationId xmlns:a16="http://schemas.microsoft.com/office/drawing/2014/main" id="{8638AE04-67B6-6B72-668F-541E69BCC130}"/>
              </a:ext>
            </a:extLst>
          </p:cNvPr>
          <p:cNvSpPr txBox="1"/>
          <p:nvPr/>
        </p:nvSpPr>
        <p:spPr>
          <a:xfrm>
            <a:off x="9750657" y="2227529"/>
            <a:ext cx="2412199" cy="646331"/>
          </a:xfrm>
          <a:prstGeom prst="rect">
            <a:avLst/>
          </a:prstGeom>
          <a:noFill/>
        </p:spPr>
        <p:txBody>
          <a:bodyPr wrap="none" rtlCol="0">
            <a:spAutoFit/>
          </a:bodyPr>
          <a:lstStyle/>
          <a:p>
            <a:r>
              <a:rPr lang="en-US" dirty="0"/>
              <a:t>Using R processed data,</a:t>
            </a:r>
          </a:p>
          <a:p>
            <a:r>
              <a:rPr lang="en-US" dirty="0"/>
              <a:t>Without DICE filtering</a:t>
            </a:r>
          </a:p>
        </p:txBody>
      </p:sp>
    </p:spTree>
    <p:extLst>
      <p:ext uri="{BB962C8B-B14F-4D97-AF65-F5344CB8AC3E}">
        <p14:creationId xmlns:p14="http://schemas.microsoft.com/office/powerpoint/2010/main" val="233783799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FEF914C-41F7-F578-5E26-E99173EF82B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6DE77C69-835E-6410-A6C7-5E7CBE887306}"/>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B7204BF-7920-C358-8A5E-EE74213C07EB}"/>
              </a:ext>
            </a:extLst>
          </p:cNvPr>
          <p:cNvSpPr>
            <a:spLocks noGrp="1"/>
          </p:cNvSpPr>
          <p:nvPr>
            <p:ph type="sldNum" sz="quarter" idx="4"/>
          </p:nvPr>
        </p:nvSpPr>
        <p:spPr/>
        <p:txBody>
          <a:bodyPr/>
          <a:lstStyle/>
          <a:p>
            <a:pPr defTabSz="1218810"/>
            <a:fld id="{E9B57936-92EF-4126-AE48-1D9D36D15E98}" type="slidenum">
              <a:rPr lang="ja-JP" altLang="en-US" smtClean="0"/>
              <a:pPr defTabSz="1218810"/>
              <a:t>34</a:t>
            </a:fld>
            <a:endParaRPr lang="ja-JP" altLang="en-US"/>
          </a:p>
        </p:txBody>
      </p:sp>
      <p:sp>
        <p:nvSpPr>
          <p:cNvPr id="6" name="Text Placeholder 5">
            <a:extLst>
              <a:ext uri="{FF2B5EF4-FFF2-40B4-BE49-F238E27FC236}">
                <a16:creationId xmlns:a16="http://schemas.microsoft.com/office/drawing/2014/main" id="{9D4425F2-4521-6182-BFD8-EE6B55CAC1CF}"/>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09BE0D49-AEB4-DFA2-C548-CB92F463EEC8}"/>
              </a:ext>
            </a:extLst>
          </p:cNvPr>
          <p:cNvPicPr>
            <a:picLocks noChangeAspect="1"/>
          </p:cNvPicPr>
          <p:nvPr/>
        </p:nvPicPr>
        <p:blipFill>
          <a:blip r:embed="rId2"/>
          <a:stretch>
            <a:fillRect/>
          </a:stretch>
        </p:blipFill>
        <p:spPr>
          <a:xfrm>
            <a:off x="2093597" y="880469"/>
            <a:ext cx="7210824" cy="5740597"/>
          </a:xfrm>
          <a:prstGeom prst="rect">
            <a:avLst/>
          </a:prstGeom>
        </p:spPr>
      </p:pic>
    </p:spTree>
    <p:extLst>
      <p:ext uri="{BB962C8B-B14F-4D97-AF65-F5344CB8AC3E}">
        <p14:creationId xmlns:p14="http://schemas.microsoft.com/office/powerpoint/2010/main" val="1852523552"/>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6111F8-6B05-015C-B285-3A31C5CA5035}"/>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3A6A3B2-80FD-4AF0-F504-D4BB700BC10C}"/>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FFAB942C-C97E-B5F4-E8E7-BAA6D57E1216}"/>
              </a:ext>
            </a:extLst>
          </p:cNvPr>
          <p:cNvSpPr>
            <a:spLocks noGrp="1"/>
          </p:cNvSpPr>
          <p:nvPr>
            <p:ph type="sldNum" sz="quarter" idx="4"/>
          </p:nvPr>
        </p:nvSpPr>
        <p:spPr/>
        <p:txBody>
          <a:bodyPr/>
          <a:lstStyle/>
          <a:p>
            <a:pPr defTabSz="1218810"/>
            <a:fld id="{E9B57936-92EF-4126-AE48-1D9D36D15E98}" type="slidenum">
              <a:rPr lang="ja-JP" altLang="en-US" smtClean="0"/>
              <a:pPr defTabSz="1218810"/>
              <a:t>35</a:t>
            </a:fld>
            <a:endParaRPr lang="ja-JP" altLang="en-US"/>
          </a:p>
        </p:txBody>
      </p:sp>
      <p:sp>
        <p:nvSpPr>
          <p:cNvPr id="6" name="Text Placeholder 5">
            <a:extLst>
              <a:ext uri="{FF2B5EF4-FFF2-40B4-BE49-F238E27FC236}">
                <a16:creationId xmlns:a16="http://schemas.microsoft.com/office/drawing/2014/main" id="{4E355842-4547-74FD-624B-D0FC03AF5B8A}"/>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DC4C9A0-EEBD-5FA7-70D4-2365F9313A82}"/>
              </a:ext>
            </a:extLst>
          </p:cNvPr>
          <p:cNvPicPr>
            <a:picLocks noChangeAspect="1"/>
          </p:cNvPicPr>
          <p:nvPr/>
        </p:nvPicPr>
        <p:blipFill>
          <a:blip r:embed="rId2"/>
          <a:stretch>
            <a:fillRect/>
          </a:stretch>
        </p:blipFill>
        <p:spPr>
          <a:xfrm>
            <a:off x="2655782" y="0"/>
            <a:ext cx="6880436" cy="6858000"/>
          </a:xfrm>
          <a:prstGeom prst="rect">
            <a:avLst/>
          </a:prstGeom>
        </p:spPr>
      </p:pic>
      <p:sp>
        <p:nvSpPr>
          <p:cNvPr id="8" name="Rectangle: Rounded Corners 7">
            <a:extLst>
              <a:ext uri="{FF2B5EF4-FFF2-40B4-BE49-F238E27FC236}">
                <a16:creationId xmlns:a16="http://schemas.microsoft.com/office/drawing/2014/main" id="{00D0EE62-A2BA-12B0-A333-05C125C1A41C}"/>
              </a:ext>
            </a:extLst>
          </p:cNvPr>
          <p:cNvSpPr/>
          <p:nvPr/>
        </p:nvSpPr>
        <p:spPr>
          <a:xfrm>
            <a:off x="1235242" y="2406312"/>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 name="TextBox 8">
            <a:extLst>
              <a:ext uri="{FF2B5EF4-FFF2-40B4-BE49-F238E27FC236}">
                <a16:creationId xmlns:a16="http://schemas.microsoft.com/office/drawing/2014/main" id="{53BCF025-5F8C-D5BB-9C9E-03AD6EA9522E}"/>
              </a:ext>
            </a:extLst>
          </p:cNvPr>
          <p:cNvSpPr txBox="1"/>
          <p:nvPr/>
        </p:nvSpPr>
        <p:spPr>
          <a:xfrm>
            <a:off x="8999621" y="1585845"/>
            <a:ext cx="3297378" cy="923330"/>
          </a:xfrm>
          <a:prstGeom prst="rect">
            <a:avLst/>
          </a:prstGeom>
          <a:noFill/>
        </p:spPr>
        <p:txBody>
          <a:bodyPr wrap="none" rtlCol="0">
            <a:spAutoFit/>
          </a:bodyPr>
          <a:lstStyle/>
          <a:p>
            <a:r>
              <a:rPr lang="en-US" dirty="0"/>
              <a:t>Using Python processed data,</a:t>
            </a:r>
          </a:p>
          <a:p>
            <a:r>
              <a:rPr lang="en-US" dirty="0"/>
              <a:t>With DICE filtering to get </a:t>
            </a:r>
          </a:p>
          <a:p>
            <a:r>
              <a:rPr lang="en-US" dirty="0"/>
              <a:t>Desired cell identities per sample</a:t>
            </a:r>
          </a:p>
        </p:txBody>
      </p:sp>
    </p:spTree>
    <p:extLst>
      <p:ext uri="{BB962C8B-B14F-4D97-AF65-F5344CB8AC3E}">
        <p14:creationId xmlns:p14="http://schemas.microsoft.com/office/powerpoint/2010/main" val="499334572"/>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8C8AF32-F912-B3F8-A93E-98B3073EDD9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E2EAA95-D343-9395-05BD-7D6B5609C6D9}"/>
              </a:ext>
            </a:extLst>
          </p:cNvPr>
          <p:cNvSpPr>
            <a:spLocks noGrp="1"/>
          </p:cNvSpPr>
          <p:nvPr>
            <p:ph type="title"/>
          </p:nvPr>
        </p:nvSpPr>
        <p:spPr/>
        <p:txBody>
          <a:bodyPr/>
          <a:lstStyle/>
          <a:p>
            <a:endParaRPr lang="en-US" dirty="0"/>
          </a:p>
        </p:txBody>
      </p:sp>
      <p:sp>
        <p:nvSpPr>
          <p:cNvPr id="5" name="Slide Number Placeholder 4">
            <a:extLst>
              <a:ext uri="{FF2B5EF4-FFF2-40B4-BE49-F238E27FC236}">
                <a16:creationId xmlns:a16="http://schemas.microsoft.com/office/drawing/2014/main" id="{E4CD5E80-84A7-7B33-62C4-600C0EDEDA63}"/>
              </a:ext>
            </a:extLst>
          </p:cNvPr>
          <p:cNvSpPr>
            <a:spLocks noGrp="1"/>
          </p:cNvSpPr>
          <p:nvPr>
            <p:ph type="sldNum" sz="quarter" idx="4"/>
          </p:nvPr>
        </p:nvSpPr>
        <p:spPr/>
        <p:txBody>
          <a:bodyPr/>
          <a:lstStyle/>
          <a:p>
            <a:pPr defTabSz="1218810"/>
            <a:fld id="{E9B57936-92EF-4126-AE48-1D9D36D15E98}" type="slidenum">
              <a:rPr lang="ja-JP" altLang="en-US" smtClean="0"/>
              <a:pPr defTabSz="1218810"/>
              <a:t>36</a:t>
            </a:fld>
            <a:endParaRPr lang="ja-JP" altLang="en-US"/>
          </a:p>
        </p:txBody>
      </p:sp>
      <p:sp>
        <p:nvSpPr>
          <p:cNvPr id="6" name="Text Placeholder 5">
            <a:extLst>
              <a:ext uri="{FF2B5EF4-FFF2-40B4-BE49-F238E27FC236}">
                <a16:creationId xmlns:a16="http://schemas.microsoft.com/office/drawing/2014/main" id="{69AE4F77-81F1-53E4-48BF-8D83ED4B6B12}"/>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E29782BA-F9CC-AF09-288D-9C828BF2DCBE}"/>
              </a:ext>
            </a:extLst>
          </p:cNvPr>
          <p:cNvPicPr>
            <a:picLocks noChangeAspect="1"/>
          </p:cNvPicPr>
          <p:nvPr/>
        </p:nvPicPr>
        <p:blipFill>
          <a:blip r:embed="rId2"/>
          <a:stretch>
            <a:fillRect/>
          </a:stretch>
        </p:blipFill>
        <p:spPr>
          <a:xfrm>
            <a:off x="2655782" y="0"/>
            <a:ext cx="6880436" cy="6858000"/>
          </a:xfrm>
          <a:prstGeom prst="rect">
            <a:avLst/>
          </a:prstGeom>
        </p:spPr>
      </p:pic>
      <p:sp>
        <p:nvSpPr>
          <p:cNvPr id="8" name="Rectangle: Rounded Corners 7">
            <a:extLst>
              <a:ext uri="{FF2B5EF4-FFF2-40B4-BE49-F238E27FC236}">
                <a16:creationId xmlns:a16="http://schemas.microsoft.com/office/drawing/2014/main" id="{04ACF9C5-B98A-D552-B54E-7312E281B67F}"/>
              </a:ext>
            </a:extLst>
          </p:cNvPr>
          <p:cNvSpPr/>
          <p:nvPr/>
        </p:nvSpPr>
        <p:spPr>
          <a:xfrm>
            <a:off x="1235242" y="625640"/>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003195028"/>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6E75A1F-70EA-1C8B-805A-6DCC9908076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74785DB-5C4D-AE5D-C6F4-3BCAF15E1F20}"/>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12F5878A-D188-D6D3-148F-1AB6FF37A591}"/>
              </a:ext>
            </a:extLst>
          </p:cNvPr>
          <p:cNvSpPr>
            <a:spLocks noGrp="1"/>
          </p:cNvSpPr>
          <p:nvPr>
            <p:ph type="sldNum" sz="quarter" idx="4"/>
          </p:nvPr>
        </p:nvSpPr>
        <p:spPr/>
        <p:txBody>
          <a:bodyPr/>
          <a:lstStyle/>
          <a:p>
            <a:pPr defTabSz="1218810"/>
            <a:fld id="{E9B57936-92EF-4126-AE48-1D9D36D15E98}" type="slidenum">
              <a:rPr lang="ja-JP" altLang="en-US" smtClean="0"/>
              <a:pPr defTabSz="1218810"/>
              <a:t>37</a:t>
            </a:fld>
            <a:endParaRPr lang="ja-JP" altLang="en-US"/>
          </a:p>
        </p:txBody>
      </p:sp>
      <p:sp>
        <p:nvSpPr>
          <p:cNvPr id="6" name="Text Placeholder 5">
            <a:extLst>
              <a:ext uri="{FF2B5EF4-FFF2-40B4-BE49-F238E27FC236}">
                <a16:creationId xmlns:a16="http://schemas.microsoft.com/office/drawing/2014/main" id="{BD6B64F5-0CFB-BD9C-CBA2-137756A2A1F6}"/>
              </a:ext>
            </a:extLst>
          </p:cNvPr>
          <p:cNvSpPr>
            <a:spLocks noGrp="1"/>
          </p:cNvSpPr>
          <p:nvPr>
            <p:ph type="body" sz="quarter" idx="16"/>
          </p:nvPr>
        </p:nvSpPr>
        <p:spPr/>
        <p:txBody>
          <a:bodyPr/>
          <a:lstStyle/>
          <a:p>
            <a:endParaRPr lang="en-US"/>
          </a:p>
        </p:txBody>
      </p:sp>
      <p:sp>
        <p:nvSpPr>
          <p:cNvPr id="9" name="TextBox 8">
            <a:extLst>
              <a:ext uri="{FF2B5EF4-FFF2-40B4-BE49-F238E27FC236}">
                <a16:creationId xmlns:a16="http://schemas.microsoft.com/office/drawing/2014/main" id="{F82C4086-F68E-8432-175D-3D106BB729F0}"/>
              </a:ext>
            </a:extLst>
          </p:cNvPr>
          <p:cNvSpPr txBox="1"/>
          <p:nvPr/>
        </p:nvSpPr>
        <p:spPr>
          <a:xfrm>
            <a:off x="8563572" y="5445848"/>
            <a:ext cx="2457468" cy="923330"/>
          </a:xfrm>
          <a:prstGeom prst="rect">
            <a:avLst/>
          </a:prstGeom>
          <a:noFill/>
        </p:spPr>
        <p:txBody>
          <a:bodyPr wrap="none" rtlCol="0">
            <a:spAutoFit/>
          </a:bodyPr>
          <a:lstStyle/>
          <a:p>
            <a:r>
              <a:rPr lang="en-US" dirty="0"/>
              <a:t>AML</a:t>
            </a:r>
          </a:p>
          <a:p>
            <a:r>
              <a:rPr lang="en-US" dirty="0"/>
              <a:t>Responding clusters: 1,3</a:t>
            </a:r>
          </a:p>
          <a:p>
            <a:r>
              <a:rPr lang="en-US" dirty="0"/>
              <a:t>Resistant clusters: 2,4</a:t>
            </a:r>
          </a:p>
        </p:txBody>
      </p:sp>
      <p:sp>
        <p:nvSpPr>
          <p:cNvPr id="10" name="TextBox 9">
            <a:extLst>
              <a:ext uri="{FF2B5EF4-FFF2-40B4-BE49-F238E27FC236}">
                <a16:creationId xmlns:a16="http://schemas.microsoft.com/office/drawing/2014/main" id="{048F08B3-EE67-3CFD-EED8-71B661984FFD}"/>
              </a:ext>
            </a:extLst>
          </p:cNvPr>
          <p:cNvSpPr txBox="1"/>
          <p:nvPr/>
        </p:nvSpPr>
        <p:spPr>
          <a:xfrm>
            <a:off x="5794459" y="5445848"/>
            <a:ext cx="2282741" cy="923330"/>
          </a:xfrm>
          <a:prstGeom prst="rect">
            <a:avLst/>
          </a:prstGeom>
          <a:noFill/>
        </p:spPr>
        <p:txBody>
          <a:bodyPr wrap="none" rtlCol="0">
            <a:spAutoFit/>
          </a:bodyPr>
          <a:lstStyle/>
          <a:p>
            <a:r>
              <a:rPr lang="en-US" dirty="0"/>
              <a:t>NK</a:t>
            </a:r>
          </a:p>
          <a:p>
            <a:r>
              <a:rPr lang="en-US" dirty="0"/>
              <a:t>Responding clusters: 0</a:t>
            </a:r>
          </a:p>
          <a:p>
            <a:r>
              <a:rPr lang="en-US" dirty="0"/>
              <a:t>Resistant clusters: 5,7</a:t>
            </a:r>
          </a:p>
        </p:txBody>
      </p:sp>
      <p:pic>
        <p:nvPicPr>
          <p:cNvPr id="7" name="Picture 6">
            <a:extLst>
              <a:ext uri="{FF2B5EF4-FFF2-40B4-BE49-F238E27FC236}">
                <a16:creationId xmlns:a16="http://schemas.microsoft.com/office/drawing/2014/main" id="{73C3FC6F-C25E-5D3A-F569-D9D3349213EA}"/>
              </a:ext>
            </a:extLst>
          </p:cNvPr>
          <p:cNvPicPr>
            <a:picLocks noChangeAspect="1"/>
          </p:cNvPicPr>
          <p:nvPr/>
        </p:nvPicPr>
        <p:blipFill rotWithShape="1">
          <a:blip r:embed="rId2"/>
          <a:srcRect t="3780"/>
          <a:stretch/>
        </p:blipFill>
        <p:spPr>
          <a:xfrm>
            <a:off x="1224310" y="1187116"/>
            <a:ext cx="3648967" cy="5335885"/>
          </a:xfrm>
          <a:prstGeom prst="rect">
            <a:avLst/>
          </a:prstGeom>
        </p:spPr>
      </p:pic>
      <p:pic>
        <p:nvPicPr>
          <p:cNvPr id="13" name="Picture 12">
            <a:extLst>
              <a:ext uri="{FF2B5EF4-FFF2-40B4-BE49-F238E27FC236}">
                <a16:creationId xmlns:a16="http://schemas.microsoft.com/office/drawing/2014/main" id="{75EDE8AD-AF04-7D8A-D154-732F920746AD}"/>
              </a:ext>
            </a:extLst>
          </p:cNvPr>
          <p:cNvPicPr>
            <a:picLocks noChangeAspect="1"/>
          </p:cNvPicPr>
          <p:nvPr/>
        </p:nvPicPr>
        <p:blipFill>
          <a:blip r:embed="rId3"/>
          <a:stretch>
            <a:fillRect/>
          </a:stretch>
        </p:blipFill>
        <p:spPr>
          <a:xfrm>
            <a:off x="4873277" y="1001229"/>
            <a:ext cx="6487194" cy="4290796"/>
          </a:xfrm>
          <a:prstGeom prst="rect">
            <a:avLst/>
          </a:prstGeom>
        </p:spPr>
      </p:pic>
    </p:spTree>
    <p:extLst>
      <p:ext uri="{BB962C8B-B14F-4D97-AF65-F5344CB8AC3E}">
        <p14:creationId xmlns:p14="http://schemas.microsoft.com/office/powerpoint/2010/main" val="2911772750"/>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6C4917B-DBDE-F2B3-1564-A3C95091FE7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D5484B6-2D07-9DAE-7E95-C5ECC7606532}"/>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2C1DC22-D6ED-CF74-AA0E-53355F9212F7}"/>
              </a:ext>
            </a:extLst>
          </p:cNvPr>
          <p:cNvSpPr>
            <a:spLocks noGrp="1"/>
          </p:cNvSpPr>
          <p:nvPr>
            <p:ph type="sldNum" sz="quarter" idx="4"/>
          </p:nvPr>
        </p:nvSpPr>
        <p:spPr/>
        <p:txBody>
          <a:bodyPr/>
          <a:lstStyle/>
          <a:p>
            <a:pPr defTabSz="1218810"/>
            <a:fld id="{E9B57936-92EF-4126-AE48-1D9D36D15E98}" type="slidenum">
              <a:rPr lang="ja-JP" altLang="en-US" smtClean="0"/>
              <a:pPr defTabSz="1218810"/>
              <a:t>38</a:t>
            </a:fld>
            <a:endParaRPr lang="ja-JP" altLang="en-US"/>
          </a:p>
        </p:txBody>
      </p:sp>
      <p:sp>
        <p:nvSpPr>
          <p:cNvPr id="6" name="Text Placeholder 5">
            <a:extLst>
              <a:ext uri="{FF2B5EF4-FFF2-40B4-BE49-F238E27FC236}">
                <a16:creationId xmlns:a16="http://schemas.microsoft.com/office/drawing/2014/main" id="{F8A5D657-8BB5-0782-1920-617823F7FDE8}"/>
              </a:ext>
            </a:extLst>
          </p:cNvPr>
          <p:cNvSpPr>
            <a:spLocks noGrp="1"/>
          </p:cNvSpPr>
          <p:nvPr>
            <p:ph type="body" sz="quarter" idx="16"/>
          </p:nvPr>
        </p:nvSpPr>
        <p:spPr/>
        <p:txBody>
          <a:bodyPr/>
          <a:lstStyle/>
          <a:p>
            <a:endParaRPr lang="en-US"/>
          </a:p>
        </p:txBody>
      </p:sp>
      <p:pic>
        <p:nvPicPr>
          <p:cNvPr id="24" name="Picture 23">
            <a:extLst>
              <a:ext uri="{FF2B5EF4-FFF2-40B4-BE49-F238E27FC236}">
                <a16:creationId xmlns:a16="http://schemas.microsoft.com/office/drawing/2014/main" id="{0A07AB6A-FDC9-981A-9EB9-2981C26946A7}"/>
              </a:ext>
            </a:extLst>
          </p:cNvPr>
          <p:cNvPicPr>
            <a:picLocks noChangeAspect="1"/>
          </p:cNvPicPr>
          <p:nvPr/>
        </p:nvPicPr>
        <p:blipFill>
          <a:blip r:embed="rId2"/>
          <a:stretch>
            <a:fillRect/>
          </a:stretch>
        </p:blipFill>
        <p:spPr>
          <a:xfrm rot="5400000">
            <a:off x="-509328" y="2293482"/>
            <a:ext cx="5929628" cy="3108960"/>
          </a:xfrm>
          <a:prstGeom prst="rect">
            <a:avLst/>
          </a:prstGeom>
        </p:spPr>
      </p:pic>
      <p:pic>
        <p:nvPicPr>
          <p:cNvPr id="25" name="Picture 24">
            <a:extLst>
              <a:ext uri="{FF2B5EF4-FFF2-40B4-BE49-F238E27FC236}">
                <a16:creationId xmlns:a16="http://schemas.microsoft.com/office/drawing/2014/main" id="{318CAAFA-19E0-D898-9AB3-F229AEE8F61C}"/>
              </a:ext>
            </a:extLst>
          </p:cNvPr>
          <p:cNvPicPr>
            <a:picLocks noChangeAspect="1"/>
          </p:cNvPicPr>
          <p:nvPr/>
        </p:nvPicPr>
        <p:blipFill>
          <a:blip r:embed="rId3"/>
          <a:stretch>
            <a:fillRect/>
          </a:stretch>
        </p:blipFill>
        <p:spPr>
          <a:xfrm>
            <a:off x="4009967" y="883147"/>
            <a:ext cx="3766155" cy="3200400"/>
          </a:xfrm>
          <a:prstGeom prst="rect">
            <a:avLst/>
          </a:prstGeom>
        </p:spPr>
      </p:pic>
      <p:pic>
        <p:nvPicPr>
          <p:cNvPr id="26" name="Picture 25">
            <a:extLst>
              <a:ext uri="{FF2B5EF4-FFF2-40B4-BE49-F238E27FC236}">
                <a16:creationId xmlns:a16="http://schemas.microsoft.com/office/drawing/2014/main" id="{CEF70729-05BC-9D80-9D8E-258709AA66B4}"/>
              </a:ext>
            </a:extLst>
          </p:cNvPr>
          <p:cNvPicPr>
            <a:picLocks noChangeAspect="1"/>
          </p:cNvPicPr>
          <p:nvPr/>
        </p:nvPicPr>
        <p:blipFill>
          <a:blip r:embed="rId4"/>
          <a:stretch>
            <a:fillRect/>
          </a:stretch>
        </p:blipFill>
        <p:spPr>
          <a:xfrm>
            <a:off x="7665599" y="918888"/>
            <a:ext cx="3727329" cy="3200400"/>
          </a:xfrm>
          <a:prstGeom prst="rect">
            <a:avLst/>
          </a:prstGeom>
        </p:spPr>
      </p:pic>
    </p:spTree>
    <p:extLst>
      <p:ext uri="{BB962C8B-B14F-4D97-AF65-F5344CB8AC3E}">
        <p14:creationId xmlns:p14="http://schemas.microsoft.com/office/powerpoint/2010/main" val="2975093176"/>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723789-56C0-B94E-7F7C-101B6F975DF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3F4111D-4AA2-8118-1EDD-7677B6D99EDB}"/>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C27F6D9-0CFD-72E5-E314-C5EDFA1B335B}"/>
              </a:ext>
            </a:extLst>
          </p:cNvPr>
          <p:cNvSpPr>
            <a:spLocks noGrp="1"/>
          </p:cNvSpPr>
          <p:nvPr>
            <p:ph type="sldNum" sz="quarter" idx="4"/>
          </p:nvPr>
        </p:nvSpPr>
        <p:spPr/>
        <p:txBody>
          <a:bodyPr/>
          <a:lstStyle/>
          <a:p>
            <a:pPr defTabSz="1218810"/>
            <a:fld id="{E9B57936-92EF-4126-AE48-1D9D36D15E98}" type="slidenum">
              <a:rPr lang="ja-JP" altLang="en-US" smtClean="0"/>
              <a:pPr defTabSz="1218810"/>
              <a:t>39</a:t>
            </a:fld>
            <a:endParaRPr lang="ja-JP" altLang="en-US"/>
          </a:p>
        </p:txBody>
      </p:sp>
      <p:sp>
        <p:nvSpPr>
          <p:cNvPr id="6" name="Text Placeholder 5">
            <a:extLst>
              <a:ext uri="{FF2B5EF4-FFF2-40B4-BE49-F238E27FC236}">
                <a16:creationId xmlns:a16="http://schemas.microsoft.com/office/drawing/2014/main" id="{374B6886-91A9-2791-88BE-8E40DAB031D6}"/>
              </a:ext>
            </a:extLst>
          </p:cNvPr>
          <p:cNvSpPr>
            <a:spLocks noGrp="1"/>
          </p:cNvSpPr>
          <p:nvPr>
            <p:ph type="body" sz="quarter" idx="16"/>
          </p:nvPr>
        </p:nvSpPr>
        <p:spPr/>
        <p:txBody>
          <a:bodyPr/>
          <a:lstStyle/>
          <a:p>
            <a:endParaRPr lang="en-US"/>
          </a:p>
        </p:txBody>
      </p:sp>
      <p:sp>
        <p:nvSpPr>
          <p:cNvPr id="10" name="TextBox 9">
            <a:extLst>
              <a:ext uri="{FF2B5EF4-FFF2-40B4-BE49-F238E27FC236}">
                <a16:creationId xmlns:a16="http://schemas.microsoft.com/office/drawing/2014/main" id="{AB1E60EC-EFE4-7DD3-5765-D6C4B248DE46}"/>
              </a:ext>
            </a:extLst>
          </p:cNvPr>
          <p:cNvSpPr txBox="1"/>
          <p:nvPr/>
        </p:nvSpPr>
        <p:spPr>
          <a:xfrm>
            <a:off x="6210113" y="138868"/>
            <a:ext cx="2457468" cy="923330"/>
          </a:xfrm>
          <a:prstGeom prst="rect">
            <a:avLst/>
          </a:prstGeom>
          <a:noFill/>
        </p:spPr>
        <p:txBody>
          <a:bodyPr wrap="none" rtlCol="0">
            <a:spAutoFit/>
          </a:bodyPr>
          <a:lstStyle/>
          <a:p>
            <a:r>
              <a:rPr lang="en-US" dirty="0"/>
              <a:t>AML</a:t>
            </a:r>
          </a:p>
          <a:p>
            <a:r>
              <a:rPr lang="en-US" dirty="0"/>
              <a:t>Responding clusters: 1,3</a:t>
            </a:r>
          </a:p>
          <a:p>
            <a:r>
              <a:rPr lang="en-US" dirty="0"/>
              <a:t>Resistant clusters: 2,4</a:t>
            </a:r>
          </a:p>
        </p:txBody>
      </p:sp>
      <p:pic>
        <p:nvPicPr>
          <p:cNvPr id="16" name="Picture 15">
            <a:extLst>
              <a:ext uri="{FF2B5EF4-FFF2-40B4-BE49-F238E27FC236}">
                <a16:creationId xmlns:a16="http://schemas.microsoft.com/office/drawing/2014/main" id="{298BF167-182B-6D0B-D41A-DD9B97C7009D}"/>
              </a:ext>
            </a:extLst>
          </p:cNvPr>
          <p:cNvPicPr>
            <a:picLocks noChangeAspect="1"/>
          </p:cNvPicPr>
          <p:nvPr/>
        </p:nvPicPr>
        <p:blipFill>
          <a:blip r:embed="rId2"/>
          <a:stretch>
            <a:fillRect/>
          </a:stretch>
        </p:blipFill>
        <p:spPr>
          <a:xfrm rot="5400000">
            <a:off x="-915318" y="2096611"/>
            <a:ext cx="5927656" cy="3474720"/>
          </a:xfrm>
          <a:prstGeom prst="rect">
            <a:avLst/>
          </a:prstGeom>
        </p:spPr>
      </p:pic>
      <p:pic>
        <p:nvPicPr>
          <p:cNvPr id="17" name="Picture 16">
            <a:extLst>
              <a:ext uri="{FF2B5EF4-FFF2-40B4-BE49-F238E27FC236}">
                <a16:creationId xmlns:a16="http://schemas.microsoft.com/office/drawing/2014/main" id="{054A3E07-5D01-2836-7B3B-1BFF78D47C92}"/>
              </a:ext>
            </a:extLst>
          </p:cNvPr>
          <p:cNvPicPr>
            <a:picLocks noChangeAspect="1"/>
          </p:cNvPicPr>
          <p:nvPr/>
        </p:nvPicPr>
        <p:blipFill>
          <a:blip r:embed="rId3"/>
          <a:stretch>
            <a:fillRect/>
          </a:stretch>
        </p:blipFill>
        <p:spPr>
          <a:xfrm>
            <a:off x="4176869" y="1242511"/>
            <a:ext cx="3838261" cy="3200400"/>
          </a:xfrm>
          <a:prstGeom prst="rect">
            <a:avLst/>
          </a:prstGeom>
        </p:spPr>
      </p:pic>
      <p:pic>
        <p:nvPicPr>
          <p:cNvPr id="18" name="Picture 17">
            <a:extLst>
              <a:ext uri="{FF2B5EF4-FFF2-40B4-BE49-F238E27FC236}">
                <a16:creationId xmlns:a16="http://schemas.microsoft.com/office/drawing/2014/main" id="{5AB4558E-743F-BAB7-9EE4-988A9531A806}"/>
              </a:ext>
            </a:extLst>
          </p:cNvPr>
          <p:cNvPicPr>
            <a:picLocks noChangeAspect="1"/>
          </p:cNvPicPr>
          <p:nvPr/>
        </p:nvPicPr>
        <p:blipFill>
          <a:blip r:embed="rId4"/>
          <a:stretch>
            <a:fillRect/>
          </a:stretch>
        </p:blipFill>
        <p:spPr>
          <a:xfrm>
            <a:off x="8015130" y="1242511"/>
            <a:ext cx="3699596" cy="3200400"/>
          </a:xfrm>
          <a:prstGeom prst="rect">
            <a:avLst/>
          </a:prstGeom>
        </p:spPr>
      </p:pic>
    </p:spTree>
    <p:extLst>
      <p:ext uri="{BB962C8B-B14F-4D97-AF65-F5344CB8AC3E}">
        <p14:creationId xmlns:p14="http://schemas.microsoft.com/office/powerpoint/2010/main" val="112432482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314FD59-275A-6157-5E4B-F13CDFE0FFE4}"/>
              </a:ext>
            </a:extLst>
          </p:cNvPr>
          <p:cNvPicPr>
            <a:picLocks noChangeAspect="1"/>
          </p:cNvPicPr>
          <p:nvPr/>
        </p:nvPicPr>
        <p:blipFill>
          <a:blip r:embed="rId2"/>
          <a:stretch>
            <a:fillRect/>
          </a:stretch>
        </p:blipFill>
        <p:spPr>
          <a:xfrm>
            <a:off x="2326327" y="2468319"/>
            <a:ext cx="6661616" cy="2433769"/>
          </a:xfrm>
          <a:prstGeom prst="rect">
            <a:avLst/>
          </a:prstGeom>
        </p:spPr>
      </p:pic>
      <p:sp>
        <p:nvSpPr>
          <p:cNvPr id="3" name="Footer Placeholder 2">
            <a:extLst>
              <a:ext uri="{FF2B5EF4-FFF2-40B4-BE49-F238E27FC236}">
                <a16:creationId xmlns:a16="http://schemas.microsoft.com/office/drawing/2014/main" id="{83EEF44F-A59E-4186-2FB2-32EA09FC9E6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3801A84-46E2-FC24-E1D3-80899D85EFA3}"/>
              </a:ext>
            </a:extLst>
          </p:cNvPr>
          <p:cNvSpPr>
            <a:spLocks noGrp="1"/>
          </p:cNvSpPr>
          <p:nvPr>
            <p:ph type="title"/>
          </p:nvPr>
        </p:nvSpPr>
        <p:spPr>
          <a:xfrm>
            <a:off x="606078" y="161605"/>
            <a:ext cx="10530008" cy="948738"/>
          </a:xfrm>
        </p:spPr>
        <p:txBody>
          <a:bodyPr>
            <a:normAutofit/>
          </a:bodyPr>
          <a:lstStyle/>
          <a:p>
            <a:r>
              <a:rPr lang="en-US" dirty="0"/>
              <a:t>Most single cells showed low mitochondrial content in the libraries after filtering mouse cells</a:t>
            </a:r>
          </a:p>
        </p:txBody>
      </p:sp>
      <p:sp>
        <p:nvSpPr>
          <p:cNvPr id="5" name="Slide Number Placeholder 4">
            <a:extLst>
              <a:ext uri="{FF2B5EF4-FFF2-40B4-BE49-F238E27FC236}">
                <a16:creationId xmlns:a16="http://schemas.microsoft.com/office/drawing/2014/main" id="{973DF987-C7A0-B621-9467-3667CFE6A83B}"/>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7A4C449B-DFCF-9952-3349-40FA6027DE62}"/>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C3A4893C-02CE-7FDC-3A63-5AF076203127}"/>
              </a:ext>
            </a:extLst>
          </p:cNvPr>
          <p:cNvPicPr>
            <a:picLocks noChangeAspect="1"/>
          </p:cNvPicPr>
          <p:nvPr/>
        </p:nvPicPr>
        <p:blipFill>
          <a:blip r:embed="rId3"/>
          <a:stretch>
            <a:fillRect/>
          </a:stretch>
        </p:blipFill>
        <p:spPr>
          <a:xfrm>
            <a:off x="2002161" y="1110343"/>
            <a:ext cx="7863512" cy="4992706"/>
          </a:xfrm>
          <a:prstGeom prst="rect">
            <a:avLst/>
          </a:prstGeom>
        </p:spPr>
      </p:pic>
    </p:spTree>
    <p:extLst>
      <p:ext uri="{BB962C8B-B14F-4D97-AF65-F5344CB8AC3E}">
        <p14:creationId xmlns:p14="http://schemas.microsoft.com/office/powerpoint/2010/main" val="3334079825"/>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2C3B689-E7C2-CED9-DD3F-96BDB68D1707}"/>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B224AFA-1411-40D0-6A14-ED2344FB14C7}"/>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F24F54B-D599-AD65-CD75-FC13700DB65C}"/>
              </a:ext>
            </a:extLst>
          </p:cNvPr>
          <p:cNvSpPr>
            <a:spLocks noGrp="1"/>
          </p:cNvSpPr>
          <p:nvPr>
            <p:ph type="sldNum" sz="quarter" idx="4"/>
          </p:nvPr>
        </p:nvSpPr>
        <p:spPr/>
        <p:txBody>
          <a:bodyPr/>
          <a:lstStyle/>
          <a:p>
            <a:pPr defTabSz="1218810"/>
            <a:fld id="{E9B57936-92EF-4126-AE48-1D9D36D15E98}" type="slidenum">
              <a:rPr lang="ja-JP" altLang="en-US" smtClean="0"/>
              <a:pPr defTabSz="1218810"/>
              <a:t>40</a:t>
            </a:fld>
            <a:endParaRPr lang="ja-JP" altLang="en-US"/>
          </a:p>
        </p:txBody>
      </p:sp>
      <p:sp>
        <p:nvSpPr>
          <p:cNvPr id="6" name="Text Placeholder 5">
            <a:extLst>
              <a:ext uri="{FF2B5EF4-FFF2-40B4-BE49-F238E27FC236}">
                <a16:creationId xmlns:a16="http://schemas.microsoft.com/office/drawing/2014/main" id="{3B3B03AE-D5AC-99E5-A467-53A3D1C34CEB}"/>
              </a:ext>
            </a:extLst>
          </p:cNvPr>
          <p:cNvSpPr>
            <a:spLocks noGrp="1"/>
          </p:cNvSpPr>
          <p:nvPr>
            <p:ph type="body" sz="quarter" idx="16"/>
          </p:nvPr>
        </p:nvSpPr>
        <p:spPr/>
        <p:txBody>
          <a:bodyPr/>
          <a:lstStyle/>
          <a:p>
            <a:endParaRPr lang="en-US"/>
          </a:p>
        </p:txBody>
      </p:sp>
      <p:pic>
        <p:nvPicPr>
          <p:cNvPr id="20" name="Picture 19">
            <a:extLst>
              <a:ext uri="{FF2B5EF4-FFF2-40B4-BE49-F238E27FC236}">
                <a16:creationId xmlns:a16="http://schemas.microsoft.com/office/drawing/2014/main" id="{1B9597AC-9AC4-EF28-9AA4-42C365B697B2}"/>
              </a:ext>
            </a:extLst>
          </p:cNvPr>
          <p:cNvPicPr>
            <a:picLocks noChangeAspect="1"/>
          </p:cNvPicPr>
          <p:nvPr/>
        </p:nvPicPr>
        <p:blipFill rotWithShape="1">
          <a:blip r:embed="rId2"/>
          <a:srcRect b="55476"/>
          <a:stretch/>
        </p:blipFill>
        <p:spPr>
          <a:xfrm>
            <a:off x="606078" y="1324492"/>
            <a:ext cx="3308577" cy="1786602"/>
          </a:xfrm>
          <a:prstGeom prst="rect">
            <a:avLst/>
          </a:prstGeom>
        </p:spPr>
      </p:pic>
      <p:pic>
        <p:nvPicPr>
          <p:cNvPr id="21" name="Picture 20">
            <a:extLst>
              <a:ext uri="{FF2B5EF4-FFF2-40B4-BE49-F238E27FC236}">
                <a16:creationId xmlns:a16="http://schemas.microsoft.com/office/drawing/2014/main" id="{D951C0C4-C597-AFA3-2D8F-8A5F15B36A8C}"/>
              </a:ext>
            </a:extLst>
          </p:cNvPr>
          <p:cNvPicPr>
            <a:picLocks noChangeAspect="1"/>
          </p:cNvPicPr>
          <p:nvPr/>
        </p:nvPicPr>
        <p:blipFill rotWithShape="1">
          <a:blip r:embed="rId3"/>
          <a:srcRect t="51204"/>
          <a:stretch/>
        </p:blipFill>
        <p:spPr>
          <a:xfrm>
            <a:off x="606078" y="3429000"/>
            <a:ext cx="3060442" cy="2310405"/>
          </a:xfrm>
          <a:prstGeom prst="rect">
            <a:avLst/>
          </a:prstGeom>
        </p:spPr>
      </p:pic>
      <p:pic>
        <p:nvPicPr>
          <p:cNvPr id="24" name="Picture 23">
            <a:extLst>
              <a:ext uri="{FF2B5EF4-FFF2-40B4-BE49-F238E27FC236}">
                <a16:creationId xmlns:a16="http://schemas.microsoft.com/office/drawing/2014/main" id="{73BA62D1-371D-32C0-F17C-E21EA108D8B3}"/>
              </a:ext>
            </a:extLst>
          </p:cNvPr>
          <p:cNvPicPr>
            <a:picLocks noChangeAspect="1"/>
          </p:cNvPicPr>
          <p:nvPr/>
        </p:nvPicPr>
        <p:blipFill>
          <a:blip r:embed="rId4"/>
          <a:stretch>
            <a:fillRect/>
          </a:stretch>
        </p:blipFill>
        <p:spPr>
          <a:xfrm>
            <a:off x="4090252" y="880799"/>
            <a:ext cx="8021053" cy="2248084"/>
          </a:xfrm>
          <a:prstGeom prst="rect">
            <a:avLst/>
          </a:prstGeom>
        </p:spPr>
      </p:pic>
      <p:pic>
        <p:nvPicPr>
          <p:cNvPr id="25" name="Picture 24">
            <a:extLst>
              <a:ext uri="{FF2B5EF4-FFF2-40B4-BE49-F238E27FC236}">
                <a16:creationId xmlns:a16="http://schemas.microsoft.com/office/drawing/2014/main" id="{6FFC1C61-078D-211E-7420-D31F6A65B18C}"/>
              </a:ext>
            </a:extLst>
          </p:cNvPr>
          <p:cNvPicPr>
            <a:picLocks noChangeAspect="1"/>
          </p:cNvPicPr>
          <p:nvPr/>
        </p:nvPicPr>
        <p:blipFill>
          <a:blip r:embed="rId5"/>
          <a:stretch>
            <a:fillRect/>
          </a:stretch>
        </p:blipFill>
        <p:spPr>
          <a:xfrm>
            <a:off x="3797154" y="3207587"/>
            <a:ext cx="3838262" cy="3200400"/>
          </a:xfrm>
          <a:prstGeom prst="rect">
            <a:avLst/>
          </a:prstGeom>
        </p:spPr>
      </p:pic>
      <p:pic>
        <p:nvPicPr>
          <p:cNvPr id="27" name="Picture 26">
            <a:extLst>
              <a:ext uri="{FF2B5EF4-FFF2-40B4-BE49-F238E27FC236}">
                <a16:creationId xmlns:a16="http://schemas.microsoft.com/office/drawing/2014/main" id="{E002ED69-B792-E28C-750D-8EA8684549CF}"/>
              </a:ext>
            </a:extLst>
          </p:cNvPr>
          <p:cNvPicPr>
            <a:picLocks noChangeAspect="1"/>
          </p:cNvPicPr>
          <p:nvPr/>
        </p:nvPicPr>
        <p:blipFill>
          <a:blip r:embed="rId6"/>
          <a:stretch>
            <a:fillRect/>
          </a:stretch>
        </p:blipFill>
        <p:spPr>
          <a:xfrm>
            <a:off x="7635416" y="3168235"/>
            <a:ext cx="3660769" cy="3200400"/>
          </a:xfrm>
          <a:prstGeom prst="rect">
            <a:avLst/>
          </a:prstGeom>
        </p:spPr>
      </p:pic>
    </p:spTree>
    <p:extLst>
      <p:ext uri="{BB962C8B-B14F-4D97-AF65-F5344CB8AC3E}">
        <p14:creationId xmlns:p14="http://schemas.microsoft.com/office/powerpoint/2010/main" val="2078211471"/>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6CF846E-7B9F-19B8-3ECD-0C2DAE468DB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905FCFF-ECAA-10D2-3D27-1751A487FD6A}"/>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05B30E4-7BBB-9D5A-BD84-8C563D7CDB92}"/>
              </a:ext>
            </a:extLst>
          </p:cNvPr>
          <p:cNvSpPr>
            <a:spLocks noGrp="1"/>
          </p:cNvSpPr>
          <p:nvPr>
            <p:ph type="sldNum" sz="quarter" idx="4"/>
          </p:nvPr>
        </p:nvSpPr>
        <p:spPr/>
        <p:txBody>
          <a:bodyPr/>
          <a:lstStyle/>
          <a:p>
            <a:pPr defTabSz="1218810"/>
            <a:fld id="{E9B57936-92EF-4126-AE48-1D9D36D15E98}" type="slidenum">
              <a:rPr lang="ja-JP" altLang="en-US" smtClean="0"/>
              <a:pPr defTabSz="1218810"/>
              <a:t>41</a:t>
            </a:fld>
            <a:endParaRPr lang="ja-JP" altLang="en-US"/>
          </a:p>
        </p:txBody>
      </p:sp>
      <p:sp>
        <p:nvSpPr>
          <p:cNvPr id="6" name="Text Placeholder 5">
            <a:extLst>
              <a:ext uri="{FF2B5EF4-FFF2-40B4-BE49-F238E27FC236}">
                <a16:creationId xmlns:a16="http://schemas.microsoft.com/office/drawing/2014/main" id="{6B283714-C00C-1764-6095-527C611109DB}"/>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DD5BFB3B-745C-CD89-4092-C650C2BFA1D8}"/>
              </a:ext>
            </a:extLst>
          </p:cNvPr>
          <p:cNvPicPr>
            <a:picLocks noChangeAspect="1"/>
          </p:cNvPicPr>
          <p:nvPr/>
        </p:nvPicPr>
        <p:blipFill>
          <a:blip r:embed="rId2"/>
          <a:stretch>
            <a:fillRect/>
          </a:stretch>
        </p:blipFill>
        <p:spPr>
          <a:xfrm>
            <a:off x="458614" y="932638"/>
            <a:ext cx="6469480" cy="3018059"/>
          </a:xfrm>
          <a:prstGeom prst="rect">
            <a:avLst/>
          </a:prstGeom>
        </p:spPr>
      </p:pic>
      <p:pic>
        <p:nvPicPr>
          <p:cNvPr id="12" name="Picture 11">
            <a:extLst>
              <a:ext uri="{FF2B5EF4-FFF2-40B4-BE49-F238E27FC236}">
                <a16:creationId xmlns:a16="http://schemas.microsoft.com/office/drawing/2014/main" id="{94407612-3718-0A1B-FB48-82A67E84EE47}"/>
              </a:ext>
            </a:extLst>
          </p:cNvPr>
          <p:cNvPicPr>
            <a:picLocks noChangeAspect="1"/>
          </p:cNvPicPr>
          <p:nvPr/>
        </p:nvPicPr>
        <p:blipFill rotWithShape="1">
          <a:blip r:embed="rId3"/>
          <a:srcRect l="19473" t="23678" r="25922" b="46200"/>
          <a:stretch/>
        </p:blipFill>
        <p:spPr>
          <a:xfrm>
            <a:off x="6096000" y="4002019"/>
            <a:ext cx="5933512" cy="1841110"/>
          </a:xfrm>
          <a:prstGeom prst="rect">
            <a:avLst/>
          </a:prstGeom>
        </p:spPr>
      </p:pic>
      <p:pic>
        <p:nvPicPr>
          <p:cNvPr id="14" name="Picture 13">
            <a:extLst>
              <a:ext uri="{FF2B5EF4-FFF2-40B4-BE49-F238E27FC236}">
                <a16:creationId xmlns:a16="http://schemas.microsoft.com/office/drawing/2014/main" id="{1ED57F5F-DFE8-BF48-DB48-0A9C1AFC2B8C}"/>
              </a:ext>
            </a:extLst>
          </p:cNvPr>
          <p:cNvPicPr>
            <a:picLocks noChangeAspect="1"/>
          </p:cNvPicPr>
          <p:nvPr/>
        </p:nvPicPr>
        <p:blipFill rotWithShape="1">
          <a:blip r:embed="rId4"/>
          <a:srcRect l="19474" t="29942" r="27462" b="30526"/>
          <a:stretch/>
        </p:blipFill>
        <p:spPr>
          <a:xfrm>
            <a:off x="882316" y="4035929"/>
            <a:ext cx="5021179" cy="2104188"/>
          </a:xfrm>
          <a:prstGeom prst="rect">
            <a:avLst/>
          </a:prstGeom>
        </p:spPr>
      </p:pic>
    </p:spTree>
    <p:extLst>
      <p:ext uri="{BB962C8B-B14F-4D97-AF65-F5344CB8AC3E}">
        <p14:creationId xmlns:p14="http://schemas.microsoft.com/office/powerpoint/2010/main" val="3576114755"/>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C07E6B-33CD-4FE9-B56B-6A08975F9B3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C410A2E-7F4E-4EC0-819A-07D0B5F2708F}"/>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836A3B18-D9A4-653D-8F8F-D41D09F6C366}"/>
              </a:ext>
            </a:extLst>
          </p:cNvPr>
          <p:cNvSpPr>
            <a:spLocks noGrp="1"/>
          </p:cNvSpPr>
          <p:nvPr>
            <p:ph type="sldNum" sz="quarter" idx="4"/>
          </p:nvPr>
        </p:nvSpPr>
        <p:spPr/>
        <p:txBody>
          <a:bodyPr/>
          <a:lstStyle/>
          <a:p>
            <a:pPr defTabSz="1218810"/>
            <a:fld id="{E9B57936-92EF-4126-AE48-1D9D36D15E98}" type="slidenum">
              <a:rPr lang="ja-JP" altLang="en-US" smtClean="0"/>
              <a:pPr defTabSz="1218810"/>
              <a:t>42</a:t>
            </a:fld>
            <a:endParaRPr lang="ja-JP" altLang="en-US"/>
          </a:p>
        </p:txBody>
      </p:sp>
      <p:sp>
        <p:nvSpPr>
          <p:cNvPr id="6" name="Text Placeholder 5">
            <a:extLst>
              <a:ext uri="{FF2B5EF4-FFF2-40B4-BE49-F238E27FC236}">
                <a16:creationId xmlns:a16="http://schemas.microsoft.com/office/drawing/2014/main" id="{5192C6CF-18D3-18D8-D363-EA97A99EC5D8}"/>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D4851D58-AD51-0D41-3A0E-B4D1A97D83EB}"/>
              </a:ext>
            </a:extLst>
          </p:cNvPr>
          <p:cNvPicPr>
            <a:picLocks noChangeAspect="1"/>
          </p:cNvPicPr>
          <p:nvPr/>
        </p:nvPicPr>
        <p:blipFill>
          <a:blip r:embed="rId2"/>
          <a:stretch>
            <a:fillRect/>
          </a:stretch>
        </p:blipFill>
        <p:spPr>
          <a:xfrm>
            <a:off x="1229381" y="1026695"/>
            <a:ext cx="2685035" cy="2027148"/>
          </a:xfrm>
          <a:prstGeom prst="rect">
            <a:avLst/>
          </a:prstGeom>
        </p:spPr>
      </p:pic>
      <p:pic>
        <p:nvPicPr>
          <p:cNvPr id="2" name="Picture 1">
            <a:extLst>
              <a:ext uri="{FF2B5EF4-FFF2-40B4-BE49-F238E27FC236}">
                <a16:creationId xmlns:a16="http://schemas.microsoft.com/office/drawing/2014/main" id="{19D33859-CFF8-3DBE-718D-DF27540CC624}"/>
              </a:ext>
            </a:extLst>
          </p:cNvPr>
          <p:cNvPicPr>
            <a:picLocks noChangeAspect="1"/>
          </p:cNvPicPr>
          <p:nvPr/>
        </p:nvPicPr>
        <p:blipFill>
          <a:blip r:embed="rId3"/>
          <a:stretch>
            <a:fillRect/>
          </a:stretch>
        </p:blipFill>
        <p:spPr>
          <a:xfrm>
            <a:off x="861921" y="3053843"/>
            <a:ext cx="3052495" cy="3263545"/>
          </a:xfrm>
          <a:prstGeom prst="rect">
            <a:avLst/>
          </a:prstGeom>
        </p:spPr>
      </p:pic>
      <p:pic>
        <p:nvPicPr>
          <p:cNvPr id="7" name="Picture 6">
            <a:extLst>
              <a:ext uri="{FF2B5EF4-FFF2-40B4-BE49-F238E27FC236}">
                <a16:creationId xmlns:a16="http://schemas.microsoft.com/office/drawing/2014/main" id="{C9C19251-F610-0755-3265-39DE5A0418E2}"/>
              </a:ext>
            </a:extLst>
          </p:cNvPr>
          <p:cNvPicPr>
            <a:picLocks noChangeAspect="1"/>
          </p:cNvPicPr>
          <p:nvPr/>
        </p:nvPicPr>
        <p:blipFill>
          <a:blip r:embed="rId4"/>
          <a:stretch>
            <a:fillRect/>
          </a:stretch>
        </p:blipFill>
        <p:spPr>
          <a:xfrm>
            <a:off x="4116386" y="1880936"/>
            <a:ext cx="7299328" cy="3502060"/>
          </a:xfrm>
          <a:prstGeom prst="rect">
            <a:avLst/>
          </a:prstGeom>
        </p:spPr>
      </p:pic>
    </p:spTree>
    <p:extLst>
      <p:ext uri="{BB962C8B-B14F-4D97-AF65-F5344CB8AC3E}">
        <p14:creationId xmlns:p14="http://schemas.microsoft.com/office/powerpoint/2010/main" val="2759603344"/>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AF8381-D24E-539A-8777-F2554521074D}"/>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793BFE76-7DA8-F271-5977-4D57EC7A6F3F}"/>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6D5B09B9-97ED-778C-00C4-F467A7F2FC28}"/>
              </a:ext>
            </a:extLst>
          </p:cNvPr>
          <p:cNvSpPr>
            <a:spLocks noGrp="1"/>
          </p:cNvSpPr>
          <p:nvPr>
            <p:ph type="sldNum" sz="quarter" idx="4"/>
          </p:nvPr>
        </p:nvSpPr>
        <p:spPr/>
        <p:txBody>
          <a:bodyPr/>
          <a:lstStyle/>
          <a:p>
            <a:pPr defTabSz="1218810"/>
            <a:fld id="{E9B57936-92EF-4126-AE48-1D9D36D15E98}" type="slidenum">
              <a:rPr lang="ja-JP" altLang="en-US" smtClean="0"/>
              <a:pPr defTabSz="1218810"/>
              <a:t>43</a:t>
            </a:fld>
            <a:endParaRPr lang="ja-JP" altLang="en-US"/>
          </a:p>
        </p:txBody>
      </p:sp>
      <p:sp>
        <p:nvSpPr>
          <p:cNvPr id="6" name="Text Placeholder 5">
            <a:extLst>
              <a:ext uri="{FF2B5EF4-FFF2-40B4-BE49-F238E27FC236}">
                <a16:creationId xmlns:a16="http://schemas.microsoft.com/office/drawing/2014/main" id="{4EBC5A85-F0C6-C821-07C1-F183D9538B13}"/>
              </a:ext>
            </a:extLst>
          </p:cNvPr>
          <p:cNvSpPr>
            <a:spLocks noGrp="1"/>
          </p:cNvSpPr>
          <p:nvPr>
            <p:ph type="body" sz="quarter" idx="16"/>
          </p:nvPr>
        </p:nvSpPr>
        <p:spPr/>
        <p:txBody>
          <a:bodyPr/>
          <a:lstStyle/>
          <a:p>
            <a:endParaRPr lang="en-US"/>
          </a:p>
        </p:txBody>
      </p:sp>
      <p:pic>
        <p:nvPicPr>
          <p:cNvPr id="2" name="Picture 1">
            <a:extLst>
              <a:ext uri="{FF2B5EF4-FFF2-40B4-BE49-F238E27FC236}">
                <a16:creationId xmlns:a16="http://schemas.microsoft.com/office/drawing/2014/main" id="{280C0CC2-1B23-3427-F226-49919532FD2C}"/>
              </a:ext>
            </a:extLst>
          </p:cNvPr>
          <p:cNvPicPr>
            <a:picLocks noChangeAspect="1"/>
          </p:cNvPicPr>
          <p:nvPr/>
        </p:nvPicPr>
        <p:blipFill>
          <a:blip r:embed="rId2"/>
          <a:stretch>
            <a:fillRect/>
          </a:stretch>
        </p:blipFill>
        <p:spPr>
          <a:xfrm>
            <a:off x="797702" y="964031"/>
            <a:ext cx="4898172" cy="5558970"/>
          </a:xfrm>
          <a:prstGeom prst="rect">
            <a:avLst/>
          </a:prstGeom>
        </p:spPr>
      </p:pic>
      <p:pic>
        <p:nvPicPr>
          <p:cNvPr id="8" name="Picture 7">
            <a:extLst>
              <a:ext uri="{FF2B5EF4-FFF2-40B4-BE49-F238E27FC236}">
                <a16:creationId xmlns:a16="http://schemas.microsoft.com/office/drawing/2014/main" id="{784A46A4-95BC-008E-3380-E29304C931CF}"/>
              </a:ext>
            </a:extLst>
          </p:cNvPr>
          <p:cNvPicPr>
            <a:picLocks noChangeAspect="1"/>
          </p:cNvPicPr>
          <p:nvPr/>
        </p:nvPicPr>
        <p:blipFill>
          <a:blip r:embed="rId3"/>
          <a:stretch>
            <a:fillRect/>
          </a:stretch>
        </p:blipFill>
        <p:spPr>
          <a:xfrm>
            <a:off x="5681503" y="950182"/>
            <a:ext cx="4840262" cy="5670884"/>
          </a:xfrm>
          <a:prstGeom prst="rect">
            <a:avLst/>
          </a:prstGeom>
        </p:spPr>
      </p:pic>
    </p:spTree>
    <p:extLst>
      <p:ext uri="{BB962C8B-B14F-4D97-AF65-F5344CB8AC3E}">
        <p14:creationId xmlns:p14="http://schemas.microsoft.com/office/powerpoint/2010/main" val="1460243573"/>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74CAAA2-4244-B68C-4501-26879FF5F9A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36011A1-B4E0-37A0-A891-32AF1E3BD825}"/>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79A5761-18F6-8063-56AD-0BD70BF93301}"/>
              </a:ext>
            </a:extLst>
          </p:cNvPr>
          <p:cNvSpPr>
            <a:spLocks noGrp="1"/>
          </p:cNvSpPr>
          <p:nvPr>
            <p:ph type="sldNum" sz="quarter" idx="4"/>
          </p:nvPr>
        </p:nvSpPr>
        <p:spPr/>
        <p:txBody>
          <a:bodyPr/>
          <a:lstStyle/>
          <a:p>
            <a:pPr defTabSz="1218810"/>
            <a:fld id="{E9B57936-92EF-4126-AE48-1D9D36D15E98}" type="slidenum">
              <a:rPr lang="ja-JP" altLang="en-US" smtClean="0"/>
              <a:pPr defTabSz="1218810"/>
              <a:t>44</a:t>
            </a:fld>
            <a:endParaRPr lang="ja-JP" altLang="en-US"/>
          </a:p>
        </p:txBody>
      </p:sp>
      <p:sp>
        <p:nvSpPr>
          <p:cNvPr id="6" name="Text Placeholder 5">
            <a:extLst>
              <a:ext uri="{FF2B5EF4-FFF2-40B4-BE49-F238E27FC236}">
                <a16:creationId xmlns:a16="http://schemas.microsoft.com/office/drawing/2014/main" id="{D355DEB5-4FA3-1118-2C20-E5021B6BB8E7}"/>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2C93266-7853-D2F1-BBEF-EF3B5C7C995F}"/>
              </a:ext>
            </a:extLst>
          </p:cNvPr>
          <p:cNvPicPr>
            <a:picLocks noChangeAspect="1"/>
          </p:cNvPicPr>
          <p:nvPr/>
        </p:nvPicPr>
        <p:blipFill>
          <a:blip r:embed="rId2"/>
          <a:stretch>
            <a:fillRect/>
          </a:stretch>
        </p:blipFill>
        <p:spPr>
          <a:xfrm>
            <a:off x="8018712" y="1327423"/>
            <a:ext cx="3609475" cy="2688893"/>
          </a:xfrm>
          <a:prstGeom prst="rect">
            <a:avLst/>
          </a:prstGeom>
        </p:spPr>
      </p:pic>
      <p:pic>
        <p:nvPicPr>
          <p:cNvPr id="12" name="Picture 11">
            <a:extLst>
              <a:ext uri="{FF2B5EF4-FFF2-40B4-BE49-F238E27FC236}">
                <a16:creationId xmlns:a16="http://schemas.microsoft.com/office/drawing/2014/main" id="{CA284A57-4AB2-0606-B756-5CB0466476C9}"/>
              </a:ext>
            </a:extLst>
          </p:cNvPr>
          <p:cNvPicPr>
            <a:picLocks noChangeAspect="1"/>
          </p:cNvPicPr>
          <p:nvPr/>
        </p:nvPicPr>
        <p:blipFill rotWithShape="1">
          <a:blip r:embed="rId3"/>
          <a:srcRect l="30658" t="36491" r="39737" b="13216"/>
          <a:stretch/>
        </p:blipFill>
        <p:spPr>
          <a:xfrm>
            <a:off x="735383" y="1151743"/>
            <a:ext cx="2986385" cy="2853657"/>
          </a:xfrm>
          <a:prstGeom prst="rect">
            <a:avLst/>
          </a:prstGeom>
        </p:spPr>
      </p:pic>
      <p:pic>
        <p:nvPicPr>
          <p:cNvPr id="14" name="Picture 13">
            <a:extLst>
              <a:ext uri="{FF2B5EF4-FFF2-40B4-BE49-F238E27FC236}">
                <a16:creationId xmlns:a16="http://schemas.microsoft.com/office/drawing/2014/main" id="{BA50CECB-EE1B-7AC5-E280-D74C1FE7424B}"/>
              </a:ext>
            </a:extLst>
          </p:cNvPr>
          <p:cNvPicPr>
            <a:picLocks noChangeAspect="1"/>
          </p:cNvPicPr>
          <p:nvPr/>
        </p:nvPicPr>
        <p:blipFill rotWithShape="1">
          <a:blip r:embed="rId4"/>
          <a:srcRect l="33290" t="42226" r="40395" b="17193"/>
          <a:stretch/>
        </p:blipFill>
        <p:spPr>
          <a:xfrm>
            <a:off x="4366004" y="1222339"/>
            <a:ext cx="3208422" cy="2783061"/>
          </a:xfrm>
          <a:prstGeom prst="rect">
            <a:avLst/>
          </a:prstGeom>
        </p:spPr>
      </p:pic>
    </p:spTree>
    <p:extLst>
      <p:ext uri="{BB962C8B-B14F-4D97-AF65-F5344CB8AC3E}">
        <p14:creationId xmlns:p14="http://schemas.microsoft.com/office/powerpoint/2010/main" val="2345723647"/>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403D7B3-2EDA-F024-A3D7-60724B0D439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A054FBC1-5F27-04A5-ABB0-767DD969C2EB}"/>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6D731A01-2E55-199F-15E3-0F209C540917}"/>
              </a:ext>
            </a:extLst>
          </p:cNvPr>
          <p:cNvSpPr>
            <a:spLocks noGrp="1"/>
          </p:cNvSpPr>
          <p:nvPr>
            <p:ph type="sldNum" sz="quarter" idx="4"/>
          </p:nvPr>
        </p:nvSpPr>
        <p:spPr/>
        <p:txBody>
          <a:bodyPr/>
          <a:lstStyle/>
          <a:p>
            <a:pPr defTabSz="1218810"/>
            <a:fld id="{E9B57936-92EF-4126-AE48-1D9D36D15E98}" type="slidenum">
              <a:rPr lang="ja-JP" altLang="en-US" smtClean="0"/>
              <a:pPr defTabSz="1218810"/>
              <a:t>45</a:t>
            </a:fld>
            <a:endParaRPr lang="ja-JP" altLang="en-US"/>
          </a:p>
        </p:txBody>
      </p:sp>
      <p:sp>
        <p:nvSpPr>
          <p:cNvPr id="6" name="Text Placeholder 5">
            <a:extLst>
              <a:ext uri="{FF2B5EF4-FFF2-40B4-BE49-F238E27FC236}">
                <a16:creationId xmlns:a16="http://schemas.microsoft.com/office/drawing/2014/main" id="{55C20926-D269-1300-A1F1-AF9714A5D63F}"/>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D48F0E5-2655-73A9-42A0-3B7CDE8E7A11}"/>
              </a:ext>
            </a:extLst>
          </p:cNvPr>
          <p:cNvPicPr>
            <a:picLocks noChangeAspect="1"/>
          </p:cNvPicPr>
          <p:nvPr/>
        </p:nvPicPr>
        <p:blipFill rotWithShape="1">
          <a:blip r:embed="rId2"/>
          <a:srcRect l="59239" t="11657"/>
          <a:stretch/>
        </p:blipFill>
        <p:spPr>
          <a:xfrm>
            <a:off x="606078" y="1215941"/>
            <a:ext cx="4317332" cy="4426117"/>
          </a:xfrm>
          <a:prstGeom prst="rect">
            <a:avLst/>
          </a:prstGeom>
        </p:spPr>
      </p:pic>
      <p:pic>
        <p:nvPicPr>
          <p:cNvPr id="2" name="Picture 1">
            <a:extLst>
              <a:ext uri="{FF2B5EF4-FFF2-40B4-BE49-F238E27FC236}">
                <a16:creationId xmlns:a16="http://schemas.microsoft.com/office/drawing/2014/main" id="{9DE9CB14-6948-205D-F878-4A9CC73B9089}"/>
              </a:ext>
            </a:extLst>
          </p:cNvPr>
          <p:cNvPicPr>
            <a:picLocks noChangeAspect="1"/>
          </p:cNvPicPr>
          <p:nvPr/>
        </p:nvPicPr>
        <p:blipFill>
          <a:blip r:embed="rId3"/>
          <a:stretch>
            <a:fillRect/>
          </a:stretch>
        </p:blipFill>
        <p:spPr>
          <a:xfrm>
            <a:off x="4029075" y="1824855"/>
            <a:ext cx="8162925" cy="2838450"/>
          </a:xfrm>
          <a:prstGeom prst="rect">
            <a:avLst/>
          </a:prstGeom>
        </p:spPr>
      </p:pic>
    </p:spTree>
    <p:extLst>
      <p:ext uri="{BB962C8B-B14F-4D97-AF65-F5344CB8AC3E}">
        <p14:creationId xmlns:p14="http://schemas.microsoft.com/office/powerpoint/2010/main" val="1163634577"/>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7294432-30D6-FB2B-5EB3-687FF559AD0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6518CE9-E989-2A9D-4CEC-EB848E2C6FB1}"/>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41AEAC51-147B-0333-3ECA-320F374C0A77}"/>
              </a:ext>
            </a:extLst>
          </p:cNvPr>
          <p:cNvSpPr>
            <a:spLocks noGrp="1"/>
          </p:cNvSpPr>
          <p:nvPr>
            <p:ph type="sldNum" sz="quarter" idx="4"/>
          </p:nvPr>
        </p:nvSpPr>
        <p:spPr/>
        <p:txBody>
          <a:bodyPr/>
          <a:lstStyle/>
          <a:p>
            <a:pPr defTabSz="1218810"/>
            <a:fld id="{E9B57936-92EF-4126-AE48-1D9D36D15E98}" type="slidenum">
              <a:rPr lang="ja-JP" altLang="en-US" smtClean="0"/>
              <a:pPr defTabSz="1218810"/>
              <a:t>46</a:t>
            </a:fld>
            <a:endParaRPr lang="ja-JP" altLang="en-US"/>
          </a:p>
        </p:txBody>
      </p:sp>
      <p:sp>
        <p:nvSpPr>
          <p:cNvPr id="6" name="Text Placeholder 5">
            <a:extLst>
              <a:ext uri="{FF2B5EF4-FFF2-40B4-BE49-F238E27FC236}">
                <a16:creationId xmlns:a16="http://schemas.microsoft.com/office/drawing/2014/main" id="{780FBD8F-7B49-9819-3E4E-04F970C7E7E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89FDCE40-F7F0-F7D2-7ACD-5B1EB6E03442}"/>
              </a:ext>
            </a:extLst>
          </p:cNvPr>
          <p:cNvPicPr>
            <a:picLocks noChangeAspect="1"/>
          </p:cNvPicPr>
          <p:nvPr/>
        </p:nvPicPr>
        <p:blipFill rotWithShape="1">
          <a:blip r:embed="rId2"/>
          <a:srcRect l="59873" t="11887"/>
          <a:stretch/>
        </p:blipFill>
        <p:spPr>
          <a:xfrm>
            <a:off x="606078" y="1449467"/>
            <a:ext cx="4114800" cy="3959065"/>
          </a:xfrm>
          <a:prstGeom prst="rect">
            <a:avLst/>
          </a:prstGeom>
        </p:spPr>
      </p:pic>
      <p:pic>
        <p:nvPicPr>
          <p:cNvPr id="8" name="Picture 7">
            <a:extLst>
              <a:ext uri="{FF2B5EF4-FFF2-40B4-BE49-F238E27FC236}">
                <a16:creationId xmlns:a16="http://schemas.microsoft.com/office/drawing/2014/main" id="{6CA2A009-851C-EAC8-7DDD-980174D200D0}"/>
              </a:ext>
            </a:extLst>
          </p:cNvPr>
          <p:cNvPicPr>
            <a:picLocks noChangeAspect="1"/>
          </p:cNvPicPr>
          <p:nvPr/>
        </p:nvPicPr>
        <p:blipFill>
          <a:blip r:embed="rId3"/>
          <a:stretch>
            <a:fillRect/>
          </a:stretch>
        </p:blipFill>
        <p:spPr>
          <a:xfrm>
            <a:off x="4057650" y="1947861"/>
            <a:ext cx="8134350" cy="2962275"/>
          </a:xfrm>
          <a:prstGeom prst="rect">
            <a:avLst/>
          </a:prstGeom>
        </p:spPr>
      </p:pic>
    </p:spTree>
    <p:extLst>
      <p:ext uri="{BB962C8B-B14F-4D97-AF65-F5344CB8AC3E}">
        <p14:creationId xmlns:p14="http://schemas.microsoft.com/office/powerpoint/2010/main" val="972418001"/>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0C51F4-AF02-128A-10A2-E6777DA0B912}"/>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EBFCD06-C5A6-747E-965A-E05DB4A01FBE}"/>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7DE48D0-98E5-4AF3-8B60-3A5F08182CA4}"/>
              </a:ext>
            </a:extLst>
          </p:cNvPr>
          <p:cNvSpPr>
            <a:spLocks noGrp="1"/>
          </p:cNvSpPr>
          <p:nvPr>
            <p:ph type="sldNum" sz="quarter" idx="4"/>
          </p:nvPr>
        </p:nvSpPr>
        <p:spPr/>
        <p:txBody>
          <a:bodyPr/>
          <a:lstStyle/>
          <a:p>
            <a:pPr defTabSz="1218810"/>
            <a:fld id="{E9B57936-92EF-4126-AE48-1D9D36D15E98}" type="slidenum">
              <a:rPr lang="ja-JP" altLang="en-US" smtClean="0"/>
              <a:pPr defTabSz="1218810"/>
              <a:t>47</a:t>
            </a:fld>
            <a:endParaRPr lang="ja-JP" altLang="en-US"/>
          </a:p>
        </p:txBody>
      </p:sp>
      <p:sp>
        <p:nvSpPr>
          <p:cNvPr id="6" name="Text Placeholder 5">
            <a:extLst>
              <a:ext uri="{FF2B5EF4-FFF2-40B4-BE49-F238E27FC236}">
                <a16:creationId xmlns:a16="http://schemas.microsoft.com/office/drawing/2014/main" id="{DA7E85E3-5963-BBCF-CBF2-CE179C69349F}"/>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A0696E9D-7426-CF0D-6CC5-83E8140CE699}"/>
              </a:ext>
            </a:extLst>
          </p:cNvPr>
          <p:cNvPicPr>
            <a:picLocks noChangeAspect="1"/>
          </p:cNvPicPr>
          <p:nvPr/>
        </p:nvPicPr>
        <p:blipFill>
          <a:blip r:embed="rId2"/>
          <a:stretch>
            <a:fillRect/>
          </a:stretch>
        </p:blipFill>
        <p:spPr>
          <a:xfrm>
            <a:off x="2114550" y="1174535"/>
            <a:ext cx="6968348" cy="5259602"/>
          </a:xfrm>
          <a:prstGeom prst="rect">
            <a:avLst/>
          </a:prstGeom>
        </p:spPr>
      </p:pic>
    </p:spTree>
    <p:extLst>
      <p:ext uri="{BB962C8B-B14F-4D97-AF65-F5344CB8AC3E}">
        <p14:creationId xmlns:p14="http://schemas.microsoft.com/office/powerpoint/2010/main" val="804255583"/>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F9F45AF-2394-269D-0EEC-E946F16DF1D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7DC305B-B9FC-528D-F17D-1F80D713633A}"/>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9899DE5-997B-E609-996F-0769C9BC5A9F}"/>
              </a:ext>
            </a:extLst>
          </p:cNvPr>
          <p:cNvSpPr>
            <a:spLocks noGrp="1"/>
          </p:cNvSpPr>
          <p:nvPr>
            <p:ph type="sldNum" sz="quarter" idx="4"/>
          </p:nvPr>
        </p:nvSpPr>
        <p:spPr/>
        <p:txBody>
          <a:bodyPr/>
          <a:lstStyle/>
          <a:p>
            <a:pPr defTabSz="1218810"/>
            <a:fld id="{E9B57936-92EF-4126-AE48-1D9D36D15E98}" type="slidenum">
              <a:rPr lang="ja-JP" altLang="en-US" smtClean="0"/>
              <a:pPr defTabSz="1218810"/>
              <a:t>48</a:t>
            </a:fld>
            <a:endParaRPr lang="ja-JP" altLang="en-US"/>
          </a:p>
        </p:txBody>
      </p:sp>
      <p:sp>
        <p:nvSpPr>
          <p:cNvPr id="6" name="Text Placeholder 5">
            <a:extLst>
              <a:ext uri="{FF2B5EF4-FFF2-40B4-BE49-F238E27FC236}">
                <a16:creationId xmlns:a16="http://schemas.microsoft.com/office/drawing/2014/main" id="{5CC6ABDC-2CA3-BEFA-FA77-E7B6858C916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7BA20393-A32A-D94B-BBB1-778619256757}"/>
              </a:ext>
            </a:extLst>
          </p:cNvPr>
          <p:cNvPicPr>
            <a:picLocks noChangeAspect="1"/>
          </p:cNvPicPr>
          <p:nvPr/>
        </p:nvPicPr>
        <p:blipFill>
          <a:blip r:embed="rId2"/>
          <a:stretch>
            <a:fillRect/>
          </a:stretch>
        </p:blipFill>
        <p:spPr>
          <a:xfrm>
            <a:off x="994610" y="1305024"/>
            <a:ext cx="9753600" cy="4760359"/>
          </a:xfrm>
          <a:prstGeom prst="rect">
            <a:avLst/>
          </a:prstGeom>
        </p:spPr>
      </p:pic>
    </p:spTree>
    <p:extLst>
      <p:ext uri="{BB962C8B-B14F-4D97-AF65-F5344CB8AC3E}">
        <p14:creationId xmlns:p14="http://schemas.microsoft.com/office/powerpoint/2010/main" val="1513084141"/>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E4C300-CF90-5C03-0B1F-45C88DFB17B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E707857-2C51-AB98-B0EB-746D975F06F3}"/>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2365AE5-E116-6FF2-14A6-649E91685859}"/>
              </a:ext>
            </a:extLst>
          </p:cNvPr>
          <p:cNvSpPr>
            <a:spLocks noGrp="1"/>
          </p:cNvSpPr>
          <p:nvPr>
            <p:ph type="sldNum" sz="quarter" idx="4"/>
          </p:nvPr>
        </p:nvSpPr>
        <p:spPr/>
        <p:txBody>
          <a:bodyPr/>
          <a:lstStyle/>
          <a:p>
            <a:pPr defTabSz="1218810"/>
            <a:fld id="{E9B57936-92EF-4126-AE48-1D9D36D15E98}" type="slidenum">
              <a:rPr lang="ja-JP" altLang="en-US" smtClean="0"/>
              <a:pPr defTabSz="1218810"/>
              <a:t>49</a:t>
            </a:fld>
            <a:endParaRPr lang="ja-JP" altLang="en-US"/>
          </a:p>
        </p:txBody>
      </p:sp>
      <p:sp>
        <p:nvSpPr>
          <p:cNvPr id="6" name="Text Placeholder 5">
            <a:extLst>
              <a:ext uri="{FF2B5EF4-FFF2-40B4-BE49-F238E27FC236}">
                <a16:creationId xmlns:a16="http://schemas.microsoft.com/office/drawing/2014/main" id="{0C46EA6B-9594-0A52-6450-9E524873491D}"/>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8EE5DB6-B6E5-4688-A1F5-ED25594C0CF7}"/>
              </a:ext>
            </a:extLst>
          </p:cNvPr>
          <p:cNvPicPr>
            <a:picLocks noChangeAspect="1"/>
          </p:cNvPicPr>
          <p:nvPr/>
        </p:nvPicPr>
        <p:blipFill>
          <a:blip r:embed="rId2"/>
          <a:stretch>
            <a:fillRect/>
          </a:stretch>
        </p:blipFill>
        <p:spPr>
          <a:xfrm>
            <a:off x="1362075" y="1150213"/>
            <a:ext cx="8471736" cy="5164861"/>
          </a:xfrm>
          <a:prstGeom prst="rect">
            <a:avLst/>
          </a:prstGeom>
        </p:spPr>
      </p:pic>
    </p:spTree>
    <p:extLst>
      <p:ext uri="{BB962C8B-B14F-4D97-AF65-F5344CB8AC3E}">
        <p14:creationId xmlns:p14="http://schemas.microsoft.com/office/powerpoint/2010/main" val="1119979106"/>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03F52D5-20F7-6D6A-A473-A88F1950C0B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77E311D-5333-3F7F-D754-54FDD309F13A}"/>
              </a:ext>
            </a:extLst>
          </p:cNvPr>
          <p:cNvSpPr>
            <a:spLocks noGrp="1"/>
          </p:cNvSpPr>
          <p:nvPr>
            <p:ph type="title"/>
          </p:nvPr>
        </p:nvSpPr>
        <p:spPr>
          <a:xfrm>
            <a:off x="606078" y="161605"/>
            <a:ext cx="11274772" cy="685801"/>
          </a:xfrm>
        </p:spPr>
        <p:txBody>
          <a:bodyPr>
            <a:normAutofit/>
          </a:bodyPr>
          <a:lstStyle/>
          <a:p>
            <a:r>
              <a:rPr lang="en-US" dirty="0"/>
              <a:t>Mouse red blood cell contamination in blood NK and tumor samples</a:t>
            </a:r>
          </a:p>
        </p:txBody>
      </p:sp>
      <p:sp>
        <p:nvSpPr>
          <p:cNvPr id="5" name="Slide Number Placeholder 4">
            <a:extLst>
              <a:ext uri="{FF2B5EF4-FFF2-40B4-BE49-F238E27FC236}">
                <a16:creationId xmlns:a16="http://schemas.microsoft.com/office/drawing/2014/main" id="{18EBF1C2-69CE-B39C-334A-D556AA0B2591}"/>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201D071F-31DB-4996-DF9A-A6031DE7B987}"/>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47A34C8B-2EFC-D99F-2A7E-EA5758A7899D}"/>
              </a:ext>
            </a:extLst>
          </p:cNvPr>
          <p:cNvPicPr>
            <a:picLocks noChangeAspect="1"/>
          </p:cNvPicPr>
          <p:nvPr/>
        </p:nvPicPr>
        <p:blipFill>
          <a:blip r:embed="rId2"/>
          <a:stretch>
            <a:fillRect/>
          </a:stretch>
        </p:blipFill>
        <p:spPr>
          <a:xfrm>
            <a:off x="0" y="1020811"/>
            <a:ext cx="12192000" cy="5328784"/>
          </a:xfrm>
          <a:prstGeom prst="rect">
            <a:avLst/>
          </a:prstGeom>
        </p:spPr>
      </p:pic>
    </p:spTree>
    <p:extLst>
      <p:ext uri="{BB962C8B-B14F-4D97-AF65-F5344CB8AC3E}">
        <p14:creationId xmlns:p14="http://schemas.microsoft.com/office/powerpoint/2010/main" val="1256325070"/>
      </p:ext>
    </p:extLst>
  </p:cSld>
  <p:clrMapOvr>
    <a:masterClrMapping/>
  </p:clrMapOvr>
  <p:transition spd="slow">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F78AC4-00D0-0691-9AFC-75960F4839EA}"/>
              </a:ext>
            </a:extLst>
          </p:cNvPr>
          <p:cNvSpPr>
            <a:spLocks noGrp="1"/>
          </p:cNvSpPr>
          <p:nvPr>
            <p:ph type="body" sz="quarter" idx="15"/>
          </p:nvPr>
        </p:nvSpPr>
        <p:spPr>
          <a:xfrm>
            <a:off x="463550" y="852014"/>
            <a:ext cx="11569700" cy="5328857"/>
          </a:xfrm>
        </p:spPr>
        <p:txBody>
          <a:bodyPr vert="horz" lIns="0" tIns="0" rIns="0" bIns="0" numCol="2" spcCol="540000" rtlCol="0" anchor="t">
            <a:normAutofit fontScale="85000" lnSpcReduction="10000"/>
          </a:bodyPr>
          <a:lstStyle/>
          <a:p>
            <a:pPr marL="285750" indent="-285750">
              <a:buChar char="•"/>
            </a:pPr>
            <a:r>
              <a:rPr lang="en-US" sz="1800" dirty="0">
                <a:latin typeface="Calibri"/>
                <a:ea typeface="メイリオ"/>
                <a:cs typeface="Calibri"/>
              </a:rPr>
              <a:t>Current single cell data analysis covered NK and AML cells derived from pre and post injection into the mouse model</a:t>
            </a:r>
          </a:p>
          <a:p>
            <a:pPr marL="285750" indent="-285750">
              <a:buChar char="•"/>
            </a:pPr>
            <a:endParaRPr lang="en-US" sz="1800" dirty="0">
              <a:latin typeface="Calibri"/>
              <a:ea typeface="メイリオ"/>
              <a:cs typeface="Calibri"/>
            </a:endParaRPr>
          </a:p>
          <a:p>
            <a:pPr marL="285750" indent="-285750">
              <a:buChar char="•"/>
            </a:pPr>
            <a:r>
              <a:rPr lang="en-US" sz="1800" dirty="0">
                <a:latin typeface="Calibri"/>
                <a:ea typeface="メイリオ"/>
                <a:cs typeface="Calibri"/>
              </a:rPr>
              <a:t>NK and AML cells formed separate clusters on UMAP spaces, which can be annotated by computational algorithm. Marker gene expression confirmed cell type identities</a:t>
            </a:r>
            <a:endParaRPr lang="en-US"/>
          </a:p>
          <a:p>
            <a:pPr marL="285750" indent="-285750">
              <a:buChar char="•"/>
            </a:pPr>
            <a:endParaRPr lang="en-US" sz="1800" dirty="0">
              <a:latin typeface="Calibri"/>
              <a:ea typeface="メイリオ"/>
              <a:cs typeface="Calibri"/>
            </a:endParaRPr>
          </a:p>
          <a:p>
            <a:pPr marL="285750" indent="-285750">
              <a:buChar char="•"/>
            </a:pPr>
            <a:r>
              <a:rPr lang="en-US" sz="1800" dirty="0">
                <a:solidFill>
                  <a:schemeClr val="accent1"/>
                </a:solidFill>
                <a:latin typeface="Calibri"/>
                <a:ea typeface="メイリオ"/>
                <a:cs typeface="Calibri"/>
              </a:rPr>
              <a:t>Fresh NK</a:t>
            </a:r>
            <a:r>
              <a:rPr lang="en-US" sz="1800" dirty="0">
                <a:latin typeface="Calibri"/>
                <a:ea typeface="メイリオ"/>
                <a:cs typeface="Calibri"/>
              </a:rPr>
              <a:t> cells over-expressed genes involved in</a:t>
            </a:r>
            <a:r>
              <a:rPr lang="en-US" sz="1800" dirty="0">
                <a:solidFill>
                  <a:schemeClr val="accent1"/>
                </a:solidFill>
                <a:latin typeface="Calibri"/>
                <a:ea typeface="メイリオ"/>
                <a:cs typeface="Calibri"/>
              </a:rPr>
              <a:t> immune function, cell proliferation and metabolism </a:t>
            </a:r>
            <a:r>
              <a:rPr lang="en-US" sz="1800" dirty="0">
                <a:latin typeface="Calibri"/>
                <a:ea typeface="メイリオ"/>
                <a:cs typeface="Calibri"/>
              </a:rPr>
              <a:t>pathways, while</a:t>
            </a:r>
            <a:r>
              <a:rPr lang="en-US" sz="1800" dirty="0">
                <a:solidFill>
                  <a:srgbClr val="0070C0"/>
                </a:solidFill>
                <a:latin typeface="Calibri"/>
                <a:ea typeface="メイリオ"/>
                <a:cs typeface="Calibri"/>
              </a:rPr>
              <a:t> Blood NK</a:t>
            </a:r>
            <a:r>
              <a:rPr lang="en-US" sz="1800" dirty="0">
                <a:latin typeface="Calibri"/>
                <a:ea typeface="メイリオ"/>
                <a:cs typeface="Calibri"/>
              </a:rPr>
              <a:t> and Bone marrow NK over expressed</a:t>
            </a:r>
            <a:r>
              <a:rPr lang="en-US" sz="1800" dirty="0">
                <a:solidFill>
                  <a:srgbClr val="0070C0"/>
                </a:solidFill>
                <a:latin typeface="Calibri"/>
                <a:ea typeface="メイリオ"/>
                <a:cs typeface="Calibri"/>
              </a:rPr>
              <a:t> TNF-alpha </a:t>
            </a:r>
            <a:r>
              <a:rPr lang="en-US" sz="1800" dirty="0">
                <a:latin typeface="Calibri"/>
                <a:ea typeface="メイリオ"/>
                <a:cs typeface="Calibri"/>
              </a:rPr>
              <a:t>signaling pathway</a:t>
            </a:r>
            <a:endParaRPr lang="en-US" dirty="0"/>
          </a:p>
          <a:p>
            <a:pPr marL="285750" indent="-285750">
              <a:buChar char="•"/>
            </a:pPr>
            <a:endParaRPr lang="en-US" sz="1800" dirty="0">
              <a:latin typeface="Calibri"/>
              <a:ea typeface="メイリオ"/>
              <a:cs typeface="Calibri"/>
            </a:endParaRPr>
          </a:p>
          <a:p>
            <a:pPr marL="285750" indent="-285750">
              <a:buFont typeface="Arial" panose="020B0604020202020204" pitchFamily="34" charset="0"/>
              <a:buChar char="•"/>
            </a:pPr>
            <a:r>
              <a:rPr lang="en-US" sz="1800" dirty="0">
                <a:solidFill>
                  <a:schemeClr val="accent1"/>
                </a:solidFill>
                <a:latin typeface="Calibri"/>
                <a:ea typeface="メイリオ"/>
                <a:cs typeface="Calibri"/>
              </a:rPr>
              <a:t>Fresh NK</a:t>
            </a:r>
            <a:r>
              <a:rPr lang="en-US" sz="1800" dirty="0">
                <a:latin typeface="Calibri"/>
                <a:ea typeface="メイリオ"/>
                <a:cs typeface="Calibri"/>
              </a:rPr>
              <a:t> cells express </a:t>
            </a:r>
            <a:r>
              <a:rPr lang="en-US" sz="1800" dirty="0">
                <a:solidFill>
                  <a:schemeClr val="accent1"/>
                </a:solidFill>
                <a:latin typeface="Calibri"/>
                <a:ea typeface="メイリオ"/>
                <a:cs typeface="Calibri"/>
              </a:rPr>
              <a:t>higher activating receptors</a:t>
            </a:r>
            <a:r>
              <a:rPr lang="en-US" sz="1800" dirty="0">
                <a:latin typeface="Calibri"/>
                <a:ea typeface="メイリオ"/>
                <a:cs typeface="Calibri"/>
              </a:rPr>
              <a:t>, degranulation marker</a:t>
            </a:r>
            <a:r>
              <a:rPr lang="en-US" sz="1800" dirty="0">
                <a:solidFill>
                  <a:schemeClr val="accent1"/>
                </a:solidFill>
                <a:latin typeface="Calibri"/>
                <a:ea typeface="メイリオ"/>
                <a:cs typeface="Calibri"/>
              </a:rPr>
              <a:t> LAMP1</a:t>
            </a:r>
            <a:r>
              <a:rPr lang="en-US" sz="1800" dirty="0">
                <a:latin typeface="Calibri"/>
                <a:ea typeface="メイリオ"/>
                <a:cs typeface="Calibri"/>
              </a:rPr>
              <a:t> and cytolytic molecule </a:t>
            </a:r>
            <a:r>
              <a:rPr lang="en-US" sz="1800" dirty="0">
                <a:solidFill>
                  <a:schemeClr val="accent1"/>
                </a:solidFill>
                <a:latin typeface="Calibri"/>
                <a:ea typeface="メイリオ"/>
                <a:cs typeface="Calibri"/>
              </a:rPr>
              <a:t>perforin1</a:t>
            </a:r>
            <a:r>
              <a:rPr lang="en-US" sz="1800" dirty="0">
                <a:latin typeface="Calibri"/>
                <a:ea typeface="メイリオ"/>
                <a:cs typeface="Calibri"/>
              </a:rPr>
              <a:t>, whereas blood and bone marrow NK over expressed </a:t>
            </a:r>
            <a:r>
              <a:rPr lang="en-US" sz="1800" dirty="0">
                <a:solidFill>
                  <a:srgbClr val="0070C0"/>
                </a:solidFill>
                <a:latin typeface="Calibri"/>
                <a:ea typeface="メイリオ"/>
                <a:cs typeface="Calibri"/>
              </a:rPr>
              <a:t>NK inhibitory receptors</a:t>
            </a:r>
            <a:r>
              <a:rPr lang="en-US" sz="1800" dirty="0">
                <a:latin typeface="Calibri"/>
                <a:ea typeface="メイリオ"/>
                <a:cs typeface="Calibri"/>
              </a:rPr>
              <a:t> contributing </a:t>
            </a:r>
            <a:r>
              <a:rPr lang="en-US" sz="1800" dirty="0">
                <a:solidFill>
                  <a:srgbClr val="0070C0"/>
                </a:solidFill>
                <a:latin typeface="Calibri"/>
                <a:ea typeface="メイリオ"/>
                <a:cs typeface="Calibri"/>
              </a:rPr>
              <a:t>NK cell exhaustion</a:t>
            </a:r>
          </a:p>
          <a:p>
            <a:pPr marL="285750" indent="-285750">
              <a:buChar char="•"/>
            </a:pPr>
            <a:endParaRPr lang="en-US" sz="1800" dirty="0"/>
          </a:p>
          <a:p>
            <a:pPr marL="285750" indent="-285750">
              <a:buChar char="•"/>
            </a:pPr>
            <a:r>
              <a:rPr lang="en-US" sz="1800" dirty="0">
                <a:latin typeface="Calibri"/>
                <a:ea typeface="メイリオ"/>
                <a:cs typeface="Calibri"/>
              </a:rPr>
              <a:t>On the other hand, </a:t>
            </a:r>
            <a:r>
              <a:rPr lang="en-US" sz="1800" dirty="0">
                <a:solidFill>
                  <a:schemeClr val="accent1"/>
                </a:solidFill>
                <a:latin typeface="Calibri"/>
                <a:ea typeface="メイリオ"/>
                <a:cs typeface="Calibri"/>
              </a:rPr>
              <a:t>Fresh AML</a:t>
            </a:r>
            <a:r>
              <a:rPr lang="en-US" sz="1800" dirty="0">
                <a:latin typeface="Calibri"/>
                <a:ea typeface="メイリオ"/>
                <a:cs typeface="Calibri"/>
              </a:rPr>
              <a:t> tumor showed enriched activities in pathways associated with</a:t>
            </a:r>
            <a:r>
              <a:rPr lang="en-US" sz="1800" dirty="0">
                <a:solidFill>
                  <a:schemeClr val="accent1"/>
                </a:solidFill>
                <a:latin typeface="Calibri"/>
                <a:ea typeface="メイリオ"/>
                <a:cs typeface="Calibri"/>
              </a:rPr>
              <a:t> IFNA, JAK-STAT and TNFA</a:t>
            </a:r>
            <a:r>
              <a:rPr lang="en-US" sz="1800" dirty="0">
                <a:latin typeface="Calibri"/>
                <a:ea typeface="メイリオ"/>
                <a:cs typeface="Calibri"/>
              </a:rPr>
              <a:t>, contributing to the </a:t>
            </a:r>
            <a:r>
              <a:rPr lang="en-US" sz="1800" dirty="0">
                <a:solidFill>
                  <a:schemeClr val="accent1"/>
                </a:solidFill>
                <a:latin typeface="Calibri"/>
                <a:ea typeface="メイリオ"/>
                <a:cs typeface="Calibri"/>
              </a:rPr>
              <a:t>sensitiveness to NK cell killing</a:t>
            </a:r>
            <a:r>
              <a:rPr lang="en-US" sz="1800" dirty="0">
                <a:latin typeface="Calibri"/>
                <a:ea typeface="メイリオ"/>
                <a:cs typeface="Calibri"/>
              </a:rPr>
              <a:t>. </a:t>
            </a:r>
          </a:p>
          <a:p>
            <a:pPr marL="285750" indent="-285750">
              <a:buChar char="•"/>
            </a:pPr>
            <a:endParaRPr lang="en-US" sz="1800" dirty="0">
              <a:latin typeface="Calibri"/>
              <a:ea typeface="メイリオ"/>
              <a:cs typeface="Calibri"/>
            </a:endParaRPr>
          </a:p>
          <a:p>
            <a:pPr marL="285750" indent="-285750">
              <a:buChar char="•"/>
            </a:pPr>
            <a:r>
              <a:rPr lang="en-US" sz="1800" dirty="0">
                <a:latin typeface="Calibri"/>
                <a:ea typeface="メイリオ"/>
                <a:cs typeface="Calibri"/>
              </a:rPr>
              <a:t>Blood and Bone marrow AML cells activated pathways in OXPHOS, </a:t>
            </a:r>
            <a:r>
              <a:rPr lang="en-US" sz="1800" dirty="0">
                <a:solidFill>
                  <a:srgbClr val="0070C0"/>
                </a:solidFill>
                <a:latin typeface="Calibri"/>
                <a:ea typeface="メイリオ"/>
                <a:cs typeface="Calibri"/>
              </a:rPr>
              <a:t>Glycolysis, </a:t>
            </a:r>
            <a:r>
              <a:rPr lang="en-US" sz="1800" dirty="0" err="1">
                <a:solidFill>
                  <a:srgbClr val="0070C0"/>
                </a:solidFill>
                <a:latin typeface="Calibri"/>
                <a:ea typeface="メイリオ"/>
                <a:cs typeface="Calibri"/>
              </a:rPr>
              <a:t>Myc</a:t>
            </a:r>
            <a:r>
              <a:rPr lang="en-US" sz="1800" dirty="0">
                <a:solidFill>
                  <a:srgbClr val="0070C0"/>
                </a:solidFill>
                <a:latin typeface="Calibri"/>
                <a:ea typeface="メイリオ"/>
                <a:cs typeface="Calibri"/>
              </a:rPr>
              <a:t> and </a:t>
            </a:r>
            <a:r>
              <a:rPr lang="en-US" sz="1800" dirty="0" err="1">
                <a:solidFill>
                  <a:srgbClr val="0070C0"/>
                </a:solidFill>
                <a:latin typeface="Calibri"/>
                <a:ea typeface="メイリオ"/>
                <a:cs typeface="Calibri"/>
              </a:rPr>
              <a:t>matabolism</a:t>
            </a:r>
            <a:r>
              <a:rPr lang="en-US" sz="1800" dirty="0">
                <a:latin typeface="Calibri"/>
                <a:ea typeface="メイリオ"/>
                <a:cs typeface="Calibri"/>
              </a:rPr>
              <a:t>, which in return resulting in </a:t>
            </a:r>
            <a:r>
              <a:rPr lang="en-US" sz="1800" dirty="0">
                <a:solidFill>
                  <a:srgbClr val="0070C0"/>
                </a:solidFill>
                <a:latin typeface="Calibri"/>
                <a:ea typeface="メイリオ"/>
                <a:cs typeface="Calibri"/>
              </a:rPr>
              <a:t>resistance to NK cytotoxicity</a:t>
            </a:r>
            <a:endParaRPr lang="en-US"/>
          </a:p>
          <a:p>
            <a:pPr marL="285750" indent="-285750">
              <a:buChar char="•"/>
            </a:pPr>
            <a:endParaRPr lang="en-US" sz="1800" dirty="0"/>
          </a:p>
          <a:p>
            <a:pPr marL="285750" indent="-285750">
              <a:buChar char="•"/>
            </a:pPr>
            <a:r>
              <a:rPr lang="en-US" sz="1800" dirty="0">
                <a:latin typeface="Calibri"/>
                <a:ea typeface="メイリオ"/>
                <a:cs typeface="Calibri"/>
              </a:rPr>
              <a:t>AML cells in general had high metabolic activities than NK cell does, reflecting </a:t>
            </a:r>
            <a:r>
              <a:rPr lang="en-US" sz="1800" dirty="0">
                <a:solidFill>
                  <a:srgbClr val="00B050"/>
                </a:solidFill>
                <a:latin typeface="Calibri"/>
                <a:ea typeface="メイリオ"/>
                <a:cs typeface="Calibri"/>
              </a:rPr>
              <a:t>NK cells lost fit for metabolism</a:t>
            </a:r>
            <a:r>
              <a:rPr lang="en-US" sz="1800" dirty="0">
                <a:latin typeface="Calibri"/>
                <a:ea typeface="メイリオ"/>
                <a:cs typeface="Calibri"/>
              </a:rPr>
              <a:t> and may contribute to loss of tumor control efficacy in vivo</a:t>
            </a:r>
            <a:endParaRPr lang="en-US" sz="1800" dirty="0"/>
          </a:p>
          <a:p>
            <a:pPr marL="285750" indent="-285750">
              <a:buChar char="•"/>
            </a:pPr>
            <a:endParaRPr lang="en-US" sz="1800" dirty="0"/>
          </a:p>
          <a:p>
            <a:pPr marL="285750" indent="-285750">
              <a:buChar char="•"/>
            </a:pPr>
            <a:r>
              <a:rPr lang="en-US" sz="1800" b="1" dirty="0">
                <a:latin typeface="Calibri"/>
                <a:ea typeface="メイリオ"/>
                <a:cs typeface="Calibri"/>
              </a:rPr>
              <a:t>Future directions to analyze</a:t>
            </a:r>
            <a:r>
              <a:rPr lang="en-US" sz="1800" b="1" dirty="0">
                <a:solidFill>
                  <a:schemeClr val="accent1"/>
                </a:solidFill>
                <a:latin typeface="Calibri"/>
                <a:ea typeface="メイリオ"/>
                <a:cs typeface="Calibri"/>
              </a:rPr>
              <a:t> AML cells experienced NK vs NK naïve treatment</a:t>
            </a:r>
            <a:r>
              <a:rPr lang="en-US" sz="1800" b="1" dirty="0">
                <a:latin typeface="Calibri"/>
                <a:ea typeface="メイリオ"/>
                <a:cs typeface="Calibri"/>
              </a:rPr>
              <a:t> conditions, to discover </a:t>
            </a:r>
            <a:r>
              <a:rPr lang="en-US" sz="1800" b="1" dirty="0">
                <a:solidFill>
                  <a:schemeClr val="accent1"/>
                </a:solidFill>
                <a:latin typeface="Calibri"/>
                <a:ea typeface="メイリオ"/>
                <a:cs typeface="Calibri"/>
              </a:rPr>
              <a:t>co-evolution mechanism</a:t>
            </a:r>
            <a:r>
              <a:rPr lang="en-US" sz="1800" b="1" dirty="0">
                <a:latin typeface="Calibri"/>
                <a:ea typeface="メイリオ"/>
                <a:cs typeface="Calibri"/>
              </a:rPr>
              <a:t> between AML and NK cells and how does it lead to NK resistance</a:t>
            </a:r>
            <a:endParaRPr lang="en-US" sz="1800" b="1"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p:txBody>
      </p:sp>
      <p:sp>
        <p:nvSpPr>
          <p:cNvPr id="3" name="Footer Placeholder 2">
            <a:extLst>
              <a:ext uri="{FF2B5EF4-FFF2-40B4-BE49-F238E27FC236}">
                <a16:creationId xmlns:a16="http://schemas.microsoft.com/office/drawing/2014/main" id="{7136C1E8-8134-63A8-044D-93220AE873C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512BC801-AC8B-C6B1-CF49-96F4F9AE1975}"/>
              </a:ext>
            </a:extLst>
          </p:cNvPr>
          <p:cNvSpPr>
            <a:spLocks noGrp="1"/>
          </p:cNvSpPr>
          <p:nvPr>
            <p:ph type="title"/>
          </p:nvPr>
        </p:nvSpPr>
        <p:spPr/>
        <p:txBody>
          <a:bodyPr/>
          <a:lstStyle/>
          <a:p>
            <a:r>
              <a:rPr lang="en-US" dirty="0">
                <a:latin typeface="Calibri"/>
                <a:ea typeface="メイリオ"/>
                <a:cs typeface="Calibri"/>
              </a:rPr>
              <a:t>Summary</a:t>
            </a:r>
            <a:endParaRPr lang="en-US" dirty="0"/>
          </a:p>
        </p:txBody>
      </p:sp>
      <p:sp>
        <p:nvSpPr>
          <p:cNvPr id="5" name="Slide Number Placeholder 4">
            <a:extLst>
              <a:ext uri="{FF2B5EF4-FFF2-40B4-BE49-F238E27FC236}">
                <a16:creationId xmlns:a16="http://schemas.microsoft.com/office/drawing/2014/main" id="{60A62D24-AAC6-CB38-29D5-EA57F3484EB7}"/>
              </a:ext>
            </a:extLst>
          </p:cNvPr>
          <p:cNvSpPr>
            <a:spLocks noGrp="1"/>
          </p:cNvSpPr>
          <p:nvPr>
            <p:ph type="sldNum" sz="quarter" idx="4"/>
          </p:nvPr>
        </p:nvSpPr>
        <p:spPr/>
        <p:txBody>
          <a:bodyPr/>
          <a:lstStyle/>
          <a:p>
            <a:pPr defTabSz="1218810"/>
            <a:fld id="{E9B57936-92EF-4126-AE48-1D9D36D15E98}" type="slidenum">
              <a:rPr lang="ja-JP" altLang="en-US" smtClean="0"/>
              <a:pPr defTabSz="1218810"/>
              <a:t>50</a:t>
            </a:fld>
            <a:endParaRPr lang="ja-JP" altLang="en-US"/>
          </a:p>
        </p:txBody>
      </p:sp>
      <p:sp>
        <p:nvSpPr>
          <p:cNvPr id="6" name="Text Placeholder 5">
            <a:extLst>
              <a:ext uri="{FF2B5EF4-FFF2-40B4-BE49-F238E27FC236}">
                <a16:creationId xmlns:a16="http://schemas.microsoft.com/office/drawing/2014/main" id="{10C0AFBC-C106-5BB1-8246-972A0016072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21039803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7E868EE-126F-A502-8B08-CEC731E5EB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7E6D62-5405-7163-734B-D907DE4D197C}"/>
              </a:ext>
            </a:extLst>
          </p:cNvPr>
          <p:cNvSpPr>
            <a:spLocks noGrp="1"/>
          </p:cNvSpPr>
          <p:nvPr>
            <p:ph type="title"/>
          </p:nvPr>
        </p:nvSpPr>
        <p:spPr>
          <a:xfrm>
            <a:off x="606078" y="161605"/>
            <a:ext cx="11274772" cy="757328"/>
          </a:xfrm>
        </p:spPr>
        <p:txBody>
          <a:bodyPr>
            <a:normAutofit/>
          </a:bodyPr>
          <a:lstStyle/>
          <a:p>
            <a:r>
              <a:rPr lang="en-US" dirty="0"/>
              <a:t>Fresh NK and tumor cells showed separation with D14 NK and tumor cells on UMAP spaces</a:t>
            </a:r>
          </a:p>
        </p:txBody>
      </p:sp>
      <p:sp>
        <p:nvSpPr>
          <p:cNvPr id="5" name="Slide Number Placeholder 4">
            <a:extLst>
              <a:ext uri="{FF2B5EF4-FFF2-40B4-BE49-F238E27FC236}">
                <a16:creationId xmlns:a16="http://schemas.microsoft.com/office/drawing/2014/main" id="{D6C97746-C36C-B8DA-5A88-AC40F66FC9A1}"/>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29043785-67B6-9B0B-5832-1B0028E83D0B}"/>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7E068CC-7A50-6AB1-BFE1-E158C4499B2F}"/>
              </a:ext>
            </a:extLst>
          </p:cNvPr>
          <p:cNvPicPr>
            <a:picLocks noChangeAspect="1"/>
          </p:cNvPicPr>
          <p:nvPr/>
        </p:nvPicPr>
        <p:blipFill>
          <a:blip r:embed="rId2"/>
          <a:stretch>
            <a:fillRect/>
          </a:stretch>
        </p:blipFill>
        <p:spPr>
          <a:xfrm>
            <a:off x="458614" y="918933"/>
            <a:ext cx="4761121" cy="3027404"/>
          </a:xfrm>
          <a:prstGeom prst="rect">
            <a:avLst/>
          </a:prstGeom>
        </p:spPr>
      </p:pic>
      <p:pic>
        <p:nvPicPr>
          <p:cNvPr id="10" name="Picture 9">
            <a:extLst>
              <a:ext uri="{FF2B5EF4-FFF2-40B4-BE49-F238E27FC236}">
                <a16:creationId xmlns:a16="http://schemas.microsoft.com/office/drawing/2014/main" id="{F8C43E7A-D205-9EF8-E1E1-872672BE59B9}"/>
              </a:ext>
            </a:extLst>
          </p:cNvPr>
          <p:cNvPicPr>
            <a:picLocks noChangeAspect="1"/>
          </p:cNvPicPr>
          <p:nvPr/>
        </p:nvPicPr>
        <p:blipFill>
          <a:blip r:embed="rId3"/>
          <a:stretch>
            <a:fillRect/>
          </a:stretch>
        </p:blipFill>
        <p:spPr>
          <a:xfrm>
            <a:off x="5966821" y="757334"/>
            <a:ext cx="5619101" cy="5927266"/>
          </a:xfrm>
          <a:prstGeom prst="rect">
            <a:avLst/>
          </a:prstGeom>
        </p:spPr>
      </p:pic>
    </p:spTree>
    <p:extLst>
      <p:ext uri="{BB962C8B-B14F-4D97-AF65-F5344CB8AC3E}">
        <p14:creationId xmlns:p14="http://schemas.microsoft.com/office/powerpoint/2010/main" val="13430707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9940253" cy="685801"/>
          </a:xfrm>
        </p:spPr>
        <p:txBody>
          <a:bodyPr>
            <a:normAutofit/>
          </a:bodyPr>
          <a:lstStyle/>
          <a:p>
            <a:r>
              <a:rPr lang="en-US" sz="2400" dirty="0">
                <a:latin typeface="Calibri"/>
                <a:ea typeface="メイリオ"/>
                <a:cs typeface="Calibri"/>
              </a:rPr>
              <a:t>Marker expression in NK cells and AML cells</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7</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sp>
        <p:nvSpPr>
          <p:cNvPr id="2" name="TextBox 1">
            <a:extLst>
              <a:ext uri="{FF2B5EF4-FFF2-40B4-BE49-F238E27FC236}">
                <a16:creationId xmlns:a16="http://schemas.microsoft.com/office/drawing/2014/main" id="{5C45EB4C-41B7-1102-4D38-923A4EB6C919}"/>
              </a:ext>
            </a:extLst>
          </p:cNvPr>
          <p:cNvSpPr txBox="1"/>
          <p:nvPr/>
        </p:nvSpPr>
        <p:spPr>
          <a:xfrm>
            <a:off x="795514" y="5184789"/>
            <a:ext cx="5261957" cy="338554"/>
          </a:xfrm>
          <a:prstGeom prst="rect">
            <a:avLst/>
          </a:prstGeom>
          <a:noFill/>
        </p:spPr>
        <p:txBody>
          <a:bodyPr wrap="square" rtlCol="0">
            <a:spAutoFit/>
          </a:bodyPr>
          <a:lstStyle/>
          <a:p>
            <a:r>
              <a:rPr lang="en-US" sz="1600" b="1" dirty="0"/>
              <a:t>Analysis plan</a:t>
            </a:r>
          </a:p>
        </p:txBody>
      </p:sp>
      <p:pic>
        <p:nvPicPr>
          <p:cNvPr id="3" name="Picture 2">
            <a:extLst>
              <a:ext uri="{FF2B5EF4-FFF2-40B4-BE49-F238E27FC236}">
                <a16:creationId xmlns:a16="http://schemas.microsoft.com/office/drawing/2014/main" id="{BCE711CE-51DE-B0B3-8555-71841839F1CE}"/>
              </a:ext>
            </a:extLst>
          </p:cNvPr>
          <p:cNvPicPr>
            <a:picLocks noChangeAspect="1"/>
          </p:cNvPicPr>
          <p:nvPr/>
        </p:nvPicPr>
        <p:blipFill>
          <a:blip r:embed="rId3"/>
          <a:stretch>
            <a:fillRect/>
          </a:stretch>
        </p:blipFill>
        <p:spPr>
          <a:xfrm>
            <a:off x="0" y="762000"/>
            <a:ext cx="12192000" cy="5334000"/>
          </a:xfrm>
          <a:prstGeom prst="rect">
            <a:avLst/>
          </a:prstGeom>
        </p:spPr>
      </p:pic>
    </p:spTree>
    <p:extLst>
      <p:ext uri="{BB962C8B-B14F-4D97-AF65-F5344CB8AC3E}">
        <p14:creationId xmlns:p14="http://schemas.microsoft.com/office/powerpoint/2010/main" val="355439606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rmAutofit fontScale="90000"/>
          </a:bodyPr>
          <a:lstStyle/>
          <a:p>
            <a:r>
              <a:rPr lang="en-US" sz="2400" dirty="0">
                <a:latin typeface="Calibri"/>
                <a:ea typeface="メイリオ"/>
                <a:cs typeface="Calibri"/>
              </a:rPr>
              <a:t>Unsupervised clustering in NK cells from D0-D14 to explore differential expressed genes</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8</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pic>
        <p:nvPicPr>
          <p:cNvPr id="4" name="Picture 3">
            <a:extLst>
              <a:ext uri="{FF2B5EF4-FFF2-40B4-BE49-F238E27FC236}">
                <a16:creationId xmlns:a16="http://schemas.microsoft.com/office/drawing/2014/main" id="{C59C53DD-2E52-1B0B-2D48-C40C25675388}"/>
              </a:ext>
            </a:extLst>
          </p:cNvPr>
          <p:cNvPicPr>
            <a:picLocks noChangeAspect="1"/>
          </p:cNvPicPr>
          <p:nvPr/>
        </p:nvPicPr>
        <p:blipFill>
          <a:blip r:embed="rId3"/>
          <a:stretch>
            <a:fillRect/>
          </a:stretch>
        </p:blipFill>
        <p:spPr>
          <a:xfrm>
            <a:off x="6572048" y="711622"/>
            <a:ext cx="5161338" cy="6146378"/>
          </a:xfrm>
          <a:prstGeom prst="rect">
            <a:avLst/>
          </a:prstGeom>
        </p:spPr>
      </p:pic>
      <p:pic>
        <p:nvPicPr>
          <p:cNvPr id="8" name="Picture 7">
            <a:extLst>
              <a:ext uri="{FF2B5EF4-FFF2-40B4-BE49-F238E27FC236}">
                <a16:creationId xmlns:a16="http://schemas.microsoft.com/office/drawing/2014/main" id="{B918C8A6-1291-107E-6DEF-2F51E6DC79F9}"/>
              </a:ext>
            </a:extLst>
          </p:cNvPr>
          <p:cNvPicPr>
            <a:picLocks noChangeAspect="1"/>
          </p:cNvPicPr>
          <p:nvPr/>
        </p:nvPicPr>
        <p:blipFill>
          <a:blip r:embed="rId4"/>
          <a:stretch>
            <a:fillRect/>
          </a:stretch>
        </p:blipFill>
        <p:spPr>
          <a:xfrm>
            <a:off x="495098" y="1490336"/>
            <a:ext cx="6076950" cy="3971925"/>
          </a:xfrm>
          <a:prstGeom prst="rect">
            <a:avLst/>
          </a:prstGeom>
        </p:spPr>
      </p:pic>
    </p:spTree>
    <p:extLst>
      <p:ext uri="{BB962C8B-B14F-4D97-AF65-F5344CB8AC3E}">
        <p14:creationId xmlns:p14="http://schemas.microsoft.com/office/powerpoint/2010/main" val="884730264"/>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EEC3F5A-103E-ACE0-B983-C0E2B5E13B2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FCA1A98-DA77-54FF-1D9F-B009526359A4}"/>
              </a:ext>
            </a:extLst>
          </p:cNvPr>
          <p:cNvSpPr>
            <a:spLocks noGrp="1"/>
          </p:cNvSpPr>
          <p:nvPr>
            <p:ph type="title"/>
          </p:nvPr>
        </p:nvSpPr>
        <p:spPr/>
        <p:txBody>
          <a:bodyPr/>
          <a:lstStyle/>
          <a:p>
            <a:r>
              <a:rPr lang="en-US" dirty="0"/>
              <a:t>Fresh NK and BW NK showed differential enriched GO pathways</a:t>
            </a:r>
          </a:p>
        </p:txBody>
      </p:sp>
      <p:sp>
        <p:nvSpPr>
          <p:cNvPr id="5" name="Slide Number Placeholder 4">
            <a:extLst>
              <a:ext uri="{FF2B5EF4-FFF2-40B4-BE49-F238E27FC236}">
                <a16:creationId xmlns:a16="http://schemas.microsoft.com/office/drawing/2014/main" id="{56BCD3B9-C2EC-8A7C-FD52-9531ADE947AE}"/>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5ED40B68-1EE2-4F5E-638E-8E84DE20A664}"/>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83736D8-73BE-B906-5200-FC6795E5A398}"/>
              </a:ext>
            </a:extLst>
          </p:cNvPr>
          <p:cNvPicPr>
            <a:picLocks noChangeAspect="1"/>
          </p:cNvPicPr>
          <p:nvPr/>
        </p:nvPicPr>
        <p:blipFill>
          <a:blip r:embed="rId2"/>
          <a:stretch>
            <a:fillRect/>
          </a:stretch>
        </p:blipFill>
        <p:spPr>
          <a:xfrm>
            <a:off x="0" y="1818000"/>
            <a:ext cx="12192000" cy="3419707"/>
          </a:xfrm>
          <a:prstGeom prst="rect">
            <a:avLst/>
          </a:prstGeom>
        </p:spPr>
      </p:pic>
      <p:sp>
        <p:nvSpPr>
          <p:cNvPr id="8" name="TextBox 7">
            <a:extLst>
              <a:ext uri="{FF2B5EF4-FFF2-40B4-BE49-F238E27FC236}">
                <a16:creationId xmlns:a16="http://schemas.microsoft.com/office/drawing/2014/main" id="{C40CA9DC-90B1-17A9-567F-5772408DB3B7}"/>
              </a:ext>
            </a:extLst>
          </p:cNvPr>
          <p:cNvSpPr txBox="1"/>
          <p:nvPr/>
        </p:nvSpPr>
        <p:spPr>
          <a:xfrm>
            <a:off x="458614" y="5726465"/>
            <a:ext cx="10586989" cy="523220"/>
          </a:xfrm>
          <a:prstGeom prst="rect">
            <a:avLst/>
          </a:prstGeom>
          <a:noFill/>
        </p:spPr>
        <p:txBody>
          <a:bodyPr wrap="square" rtlCol="0">
            <a:spAutoFit/>
          </a:bodyPr>
          <a:lstStyle/>
          <a:p>
            <a:pPr marL="285750" indent="-285750">
              <a:buFont typeface="Wingdings" panose="05000000000000000000" pitchFamily="2" charset="2"/>
              <a:buChar char="§"/>
            </a:pPr>
            <a:r>
              <a:rPr lang="en-US" sz="1400" dirty="0"/>
              <a:t>Fresh NK cells upregulated lymphocyte activation/adhesion/chemotaxis</a:t>
            </a:r>
          </a:p>
          <a:p>
            <a:pPr marL="285750" indent="-285750">
              <a:buFont typeface="Wingdings" panose="05000000000000000000" pitchFamily="2" charset="2"/>
              <a:buChar char="§"/>
            </a:pPr>
            <a:r>
              <a:rPr lang="en-US" sz="1400" b="1" dirty="0"/>
              <a:t>Bone marrow NK showed leukocyte differentiation pathway activation</a:t>
            </a:r>
          </a:p>
        </p:txBody>
      </p:sp>
    </p:spTree>
    <p:extLst>
      <p:ext uri="{BB962C8B-B14F-4D97-AF65-F5344CB8AC3E}">
        <p14:creationId xmlns:p14="http://schemas.microsoft.com/office/powerpoint/2010/main" val="225299151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2.xml><?xml version="1.0" encoding="utf-8"?>
<ds:datastoreItem xmlns:ds="http://schemas.openxmlformats.org/officeDocument/2006/customXml" ds:itemID="{2064AA88-9994-4773-9B46-6F25641ADC01}">
  <ds:schemaRefs>
    <ds:schemaRef ds:uri="a6f08481-6c03-4d4f-8c55-15386435109c"/>
    <ds:schemaRef ds:uri="c35d9128-0199-448a-8954-7c37adaffe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19292C-02CA-454B-826A-C373CCBD4BE5}">
  <ds:schemaRefs>
    <ds:schemaRef ds:uri="a6f08481-6c03-4d4f-8c55-15386435109c"/>
    <ds:schemaRef ds:uri="c35d9128-0199-448a-8954-7c37adaffe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9925</TotalTime>
  <Words>1272</Words>
  <Application>Microsoft Office PowerPoint</Application>
  <PresentationFormat>Widescreen</PresentationFormat>
  <Paragraphs>304</Paragraphs>
  <Slides>50</Slides>
  <Notes>4</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BlinkMacSystemFont</vt:lpstr>
      <vt:lpstr>Calibri</vt:lpstr>
      <vt:lpstr>Merriweather</vt:lpstr>
      <vt:lpstr>Wingdings</vt:lpstr>
      <vt:lpstr>Takeda Slide Master</vt:lpstr>
      <vt:lpstr>think-cell Slide</vt:lpstr>
      <vt:lpstr>CTI AML NK scRNAseq data analysis package</vt:lpstr>
      <vt:lpstr>Batch1 sequencing samples and associated metadata information</vt:lpstr>
      <vt:lpstr>2 libraries showed species impurity: indicating contamination of mouse cells</vt:lpstr>
      <vt:lpstr>Most single cells showed low mitochondrial content in the libraries after filtering mouse cells</vt:lpstr>
      <vt:lpstr>Mouse red blood cell contamination in blood NK and tumor samples</vt:lpstr>
      <vt:lpstr>Fresh NK and tumor cells showed separation with D14 NK and tumor cells on UMAP spaces</vt:lpstr>
      <vt:lpstr>Marker expression in NK cells and AML cells</vt:lpstr>
      <vt:lpstr>Unsupervised clustering in NK cells from D0-D14 to explore differential expressed genes</vt:lpstr>
      <vt:lpstr>Fresh NK and BW NK showed differential enriched GO pathways</vt:lpstr>
      <vt:lpstr>Exploring the expression NK cell activating and inhibitory receptors in NK samples </vt:lpstr>
      <vt:lpstr>Exploring the expression NK resistance genes in NK samples (PMID: 38091953)</vt:lpstr>
      <vt:lpstr>CTI AML NK scRNAseq data analysis package: Batch1 + Batch2</vt:lpstr>
      <vt:lpstr>Batch1 sequencing samples and associated metadata information</vt:lpstr>
      <vt:lpstr>Batch2 sample metadata</vt:lpstr>
      <vt:lpstr>3 libraries from batch2 showed purity of human cells indicating no mouse cell contamination</vt:lpstr>
      <vt:lpstr>Most single cells showed low mitochondrial content in the libraries after filtering mouse cells</vt:lpstr>
      <vt:lpstr>Unsupervised clustering in AML and NK cells from D0-D14 showed clear separation based on cell identity</vt:lpstr>
      <vt:lpstr>PowerPoint Presentation</vt:lpstr>
      <vt:lpstr>PowerPoint Presentation</vt:lpstr>
      <vt:lpstr>PowerPoint Presentation</vt:lpstr>
      <vt:lpstr>Batch1 NK samples still showed contamination of AML cells, indicating lower purity especially in Bone Marrow NK sample</vt:lpstr>
      <vt:lpstr>Unsupervised clustering in NK cells from D0-D14 showed differential expressed genes in blood and bone marrow NK cells than fresh NK</vt:lpstr>
      <vt:lpstr>Fresh NK cells over express hallmark pathways associated with immune function, proliferation and metabolic activities(OXPHOS)</vt:lpstr>
      <vt:lpstr>NK functional receptor expression profiles shifted largely between fresh VS post infusion NK cells</vt:lpstr>
      <vt:lpstr>GMDS (NK resistance genes) expression is elevated in bone marrow NK sample (PMID: 38091953)</vt:lpstr>
      <vt:lpstr>NK exhaustion marker expression profiles shifted largely between fresh VS post infusion NK cells</vt:lpstr>
      <vt:lpstr>Unsupervised clustering in tumor cells from D0-D14 showed differential expressed genes in blood and bone marrow tumor cells than fresh tumor</vt:lpstr>
      <vt:lpstr>Bone marrow and blood AML cells over-express pathways associated with proliferation and metabolism</vt:lpstr>
      <vt:lpstr>Fresh AML tumors activated pathways associated with IFNA, JAK-STAT and TNFA</vt:lpstr>
      <vt:lpstr>Bone marrow and blood AML tumors activated pathways in OXPHOS, Glycolysis, Myc and matabolism</vt:lpstr>
      <vt:lpstr>Differential expression profiles between NK samples and AML samples</vt:lpstr>
      <vt:lpstr>AML tumor samples showed higher metabolism activates than NK samples resulted in loss of metabolic fitness in NK cells that could be partly overco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007 Analysis On GMP Batches</dc:title>
  <dc:subject/>
  <dc:creator>Wang, Shan 1</dc:creator>
  <cp:keywords/>
  <dc:description/>
  <cp:lastModifiedBy>Zhan, Yao</cp:lastModifiedBy>
  <cp:revision>234</cp:revision>
  <dcterms:created xsi:type="dcterms:W3CDTF">2023-09-28T16:12:05Z</dcterms:created>
  <dcterms:modified xsi:type="dcterms:W3CDTF">2024-02-21T03:36: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